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sldIdLst>
    <p:sldId id="256" r:id="rId5"/>
    <p:sldId id="260" r:id="rId6"/>
    <p:sldId id="259" r:id="rId7"/>
    <p:sldId id="261" r:id="rId8"/>
  </p:sldIdLst>
  <p:sldSz cx="12192000" cy="6858000"/>
  <p:notesSz cx="6858000" cy="9144000"/>
  <p:custDataLst>
    <p:tags r:id="rId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A1A3186-ADD5-45EF-8E6E-41747258CFB4}" v="132" dt="2020-11-13T18:12:49.47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300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ssaoudi, Damien (uid34375)" userId="4f89949d-5cea-46b7-a9d2-0e5d2d2bdbd6" providerId="ADAL" clId="{86E5DE5A-1D95-4C95-BA7C-200C66EDCA9A}"/>
    <pc:docChg chg="custSel delSld modSld sldOrd">
      <pc:chgData name="Messaoudi, Damien (uid34375)" userId="4f89949d-5cea-46b7-a9d2-0e5d2d2bdbd6" providerId="ADAL" clId="{86E5DE5A-1D95-4C95-BA7C-200C66EDCA9A}" dt="2020-11-13T18:12:49.470" v="334"/>
      <pc:docMkLst>
        <pc:docMk/>
      </pc:docMkLst>
      <pc:sldChg chg="modSp">
        <pc:chgData name="Messaoudi, Damien (uid34375)" userId="4f89949d-5cea-46b7-a9d2-0e5d2d2bdbd6" providerId="ADAL" clId="{86E5DE5A-1D95-4C95-BA7C-200C66EDCA9A}" dt="2020-11-13T18:10:49.867" v="78"/>
        <pc:sldMkLst>
          <pc:docMk/>
          <pc:sldMk cId="170068619" sldId="256"/>
        </pc:sldMkLst>
        <pc:spChg chg="mod">
          <ac:chgData name="Messaoudi, Damien (uid34375)" userId="4f89949d-5cea-46b7-a9d2-0e5d2d2bdbd6" providerId="ADAL" clId="{86E5DE5A-1D95-4C95-BA7C-200C66EDCA9A}" dt="2020-11-13T18:10:49.358" v="76" actId="20577"/>
          <ac:spMkLst>
            <pc:docMk/>
            <pc:sldMk cId="170068619" sldId="256"/>
            <ac:spMk id="2" creationId="{B61B04E4-AF20-4054-B542-4D52E070D3BE}"/>
          </ac:spMkLst>
        </pc:spChg>
        <pc:spChg chg="mod">
          <ac:chgData name="Messaoudi, Damien (uid34375)" userId="4f89949d-5cea-46b7-a9d2-0e5d2d2bdbd6" providerId="ADAL" clId="{86E5DE5A-1D95-4C95-BA7C-200C66EDCA9A}" dt="2020-11-13T18:10:46.700" v="72" actId="6549"/>
          <ac:spMkLst>
            <pc:docMk/>
            <pc:sldMk cId="170068619" sldId="256"/>
            <ac:spMk id="5" creationId="{DEE36031-573D-46A2-BD3A-24D46C096820}"/>
          </ac:spMkLst>
        </pc:spChg>
        <pc:graphicFrameChg chg="mod">
          <ac:chgData name="Messaoudi, Damien (uid34375)" userId="4f89949d-5cea-46b7-a9d2-0e5d2d2bdbd6" providerId="ADAL" clId="{86E5DE5A-1D95-4C95-BA7C-200C66EDCA9A}" dt="2020-11-13T18:10:49.867" v="78"/>
          <ac:graphicFrameMkLst>
            <pc:docMk/>
            <pc:sldMk cId="170068619" sldId="256"/>
            <ac:graphicFrameMk id="6" creationId="{35602A86-CCCD-4D57-8CCD-7CBA9ECAFB33}"/>
          </ac:graphicFrameMkLst>
        </pc:graphicFrameChg>
      </pc:sldChg>
      <pc:sldChg chg="del">
        <pc:chgData name="Messaoudi, Damien (uid34375)" userId="4f89949d-5cea-46b7-a9d2-0e5d2d2bdbd6" providerId="ADAL" clId="{86E5DE5A-1D95-4C95-BA7C-200C66EDCA9A}" dt="2020-11-13T18:10:13.539" v="2" actId="2696"/>
        <pc:sldMkLst>
          <pc:docMk/>
          <pc:sldMk cId="814388474" sldId="257"/>
        </pc:sldMkLst>
      </pc:sldChg>
      <pc:sldChg chg="del">
        <pc:chgData name="Messaoudi, Damien (uid34375)" userId="4f89949d-5cea-46b7-a9d2-0e5d2d2bdbd6" providerId="ADAL" clId="{86E5DE5A-1D95-4C95-BA7C-200C66EDCA9A}" dt="2020-11-13T18:10:10.223" v="0" actId="2696"/>
        <pc:sldMkLst>
          <pc:docMk/>
          <pc:sldMk cId="2328598922" sldId="258"/>
        </pc:sldMkLst>
      </pc:sldChg>
      <pc:sldChg chg="modSp ord">
        <pc:chgData name="Messaoudi, Damien (uid34375)" userId="4f89949d-5cea-46b7-a9d2-0e5d2d2bdbd6" providerId="ADAL" clId="{86E5DE5A-1D95-4C95-BA7C-200C66EDCA9A}" dt="2020-11-13T18:11:57.224" v="178" actId="20577"/>
        <pc:sldMkLst>
          <pc:docMk/>
          <pc:sldMk cId="1472747042" sldId="259"/>
        </pc:sldMkLst>
        <pc:spChg chg="mod">
          <ac:chgData name="Messaoudi, Damien (uid34375)" userId="4f89949d-5cea-46b7-a9d2-0e5d2d2bdbd6" providerId="ADAL" clId="{86E5DE5A-1D95-4C95-BA7C-200C66EDCA9A}" dt="2020-11-13T18:11:47.143" v="150" actId="20577"/>
          <ac:spMkLst>
            <pc:docMk/>
            <pc:sldMk cId="1472747042" sldId="259"/>
            <ac:spMk id="2" creationId="{DE39B1C4-D8E3-4CC6-9BA7-3561CFF4F95A}"/>
          </ac:spMkLst>
        </pc:spChg>
        <pc:spChg chg="mod">
          <ac:chgData name="Messaoudi, Damien (uid34375)" userId="4f89949d-5cea-46b7-a9d2-0e5d2d2bdbd6" providerId="ADAL" clId="{86E5DE5A-1D95-4C95-BA7C-200C66EDCA9A}" dt="2020-11-13T18:11:19.631" v="79" actId="2710"/>
          <ac:spMkLst>
            <pc:docMk/>
            <pc:sldMk cId="1472747042" sldId="259"/>
            <ac:spMk id="5" creationId="{A121B6E3-A9C9-47F3-A335-54CE9326D894}"/>
          </ac:spMkLst>
        </pc:spChg>
        <pc:spChg chg="mod">
          <ac:chgData name="Messaoudi, Damien (uid34375)" userId="4f89949d-5cea-46b7-a9d2-0e5d2d2bdbd6" providerId="ADAL" clId="{86E5DE5A-1D95-4C95-BA7C-200C66EDCA9A}" dt="2020-11-13T18:11:57.224" v="178" actId="20577"/>
          <ac:spMkLst>
            <pc:docMk/>
            <pc:sldMk cId="1472747042" sldId="259"/>
            <ac:spMk id="6" creationId="{8C6D1A20-0414-4BE7-AD9D-91862F3D0A04}"/>
          </ac:spMkLst>
        </pc:spChg>
        <pc:graphicFrameChg chg="mod">
          <ac:chgData name="Messaoudi, Damien (uid34375)" userId="4f89949d-5cea-46b7-a9d2-0e5d2d2bdbd6" providerId="ADAL" clId="{86E5DE5A-1D95-4C95-BA7C-200C66EDCA9A}" dt="2020-11-13T18:11:47.677" v="152"/>
          <ac:graphicFrameMkLst>
            <pc:docMk/>
            <pc:sldMk cId="1472747042" sldId="259"/>
            <ac:graphicFrameMk id="8" creationId="{436D213D-38A2-40C8-B5A0-D7E316469438}"/>
          </ac:graphicFrameMkLst>
        </pc:graphicFrameChg>
      </pc:sldChg>
      <pc:sldChg chg="delSp modSp">
        <pc:chgData name="Messaoudi, Damien (uid34375)" userId="4f89949d-5cea-46b7-a9d2-0e5d2d2bdbd6" providerId="ADAL" clId="{86E5DE5A-1D95-4C95-BA7C-200C66EDCA9A}" dt="2020-11-13T18:12:49.470" v="334"/>
        <pc:sldMkLst>
          <pc:docMk/>
          <pc:sldMk cId="2411601403" sldId="260"/>
        </pc:sldMkLst>
        <pc:spChg chg="del">
          <ac:chgData name="Messaoudi, Damien (uid34375)" userId="4f89949d-5cea-46b7-a9d2-0e5d2d2bdbd6" providerId="ADAL" clId="{86E5DE5A-1D95-4C95-BA7C-200C66EDCA9A}" dt="2020-11-13T18:12:37.058" v="292"/>
          <ac:spMkLst>
            <pc:docMk/>
            <pc:sldMk cId="2411601403" sldId="260"/>
            <ac:spMk id="2" creationId="{8226BD65-6E94-484C-9D16-100EB1D0B6E3}"/>
          </ac:spMkLst>
        </pc:spChg>
        <pc:spChg chg="mod">
          <ac:chgData name="Messaoudi, Damien (uid34375)" userId="4f89949d-5cea-46b7-a9d2-0e5d2d2bdbd6" providerId="ADAL" clId="{86E5DE5A-1D95-4C95-BA7C-200C66EDCA9A}" dt="2020-11-13T18:10:38.599" v="48" actId="20577"/>
          <ac:spMkLst>
            <pc:docMk/>
            <pc:sldMk cId="2411601403" sldId="260"/>
            <ac:spMk id="4" creationId="{C379F37E-C075-4EF2-ACD6-3B69D2264EB1}"/>
          </ac:spMkLst>
        </pc:spChg>
        <pc:spChg chg="mod">
          <ac:chgData name="Messaoudi, Damien (uid34375)" userId="4f89949d-5cea-46b7-a9d2-0e5d2d2bdbd6" providerId="ADAL" clId="{86E5DE5A-1D95-4C95-BA7C-200C66EDCA9A}" dt="2020-11-13T18:10:24.880" v="5" actId="20577"/>
          <ac:spMkLst>
            <pc:docMk/>
            <pc:sldMk cId="2411601403" sldId="260"/>
            <ac:spMk id="6" creationId="{51C7E15A-F60D-428F-9E64-57D66AC76164}"/>
          </ac:spMkLst>
        </pc:spChg>
        <pc:spChg chg="del">
          <ac:chgData name="Messaoudi, Damien (uid34375)" userId="4f89949d-5cea-46b7-a9d2-0e5d2d2bdbd6" providerId="ADAL" clId="{86E5DE5A-1D95-4C95-BA7C-200C66EDCA9A}" dt="2020-11-13T18:12:34.669" v="284"/>
          <ac:spMkLst>
            <pc:docMk/>
            <pc:sldMk cId="2411601403" sldId="260"/>
            <ac:spMk id="8" creationId="{2D4A9637-4947-4300-A198-44CDFBF03903}"/>
          </ac:spMkLst>
        </pc:spChg>
        <pc:spChg chg="mod">
          <ac:chgData name="Messaoudi, Damien (uid34375)" userId="4f89949d-5cea-46b7-a9d2-0e5d2d2bdbd6" providerId="ADAL" clId="{86E5DE5A-1D95-4C95-BA7C-200C66EDCA9A}" dt="2020-11-13T18:12:23.433" v="258" actId="6549"/>
          <ac:spMkLst>
            <pc:docMk/>
            <pc:sldMk cId="2411601403" sldId="260"/>
            <ac:spMk id="9" creationId="{F7092C23-5292-4A3F-B8B5-BA9BFF1A3BAE}"/>
          </ac:spMkLst>
        </pc:spChg>
        <pc:spChg chg="del">
          <ac:chgData name="Messaoudi, Damien (uid34375)" userId="4f89949d-5cea-46b7-a9d2-0e5d2d2bdbd6" providerId="ADAL" clId="{86E5DE5A-1D95-4C95-BA7C-200C66EDCA9A}" dt="2020-11-13T18:12:29.882" v="276"/>
          <ac:spMkLst>
            <pc:docMk/>
            <pc:sldMk cId="2411601403" sldId="260"/>
            <ac:spMk id="11" creationId="{43CC1EB5-E5B8-455E-ADAA-1FF4CA4A807B}"/>
          </ac:spMkLst>
        </pc:spChg>
        <pc:spChg chg="mod">
          <ac:chgData name="Messaoudi, Damien (uid34375)" userId="4f89949d-5cea-46b7-a9d2-0e5d2d2bdbd6" providerId="ADAL" clId="{86E5DE5A-1D95-4C95-BA7C-200C66EDCA9A}" dt="2020-11-13T18:12:23.476" v="270"/>
          <ac:spMkLst>
            <pc:docMk/>
            <pc:sldMk cId="2411601403" sldId="260"/>
            <ac:spMk id="45" creationId="{0B0A38B2-896B-48E2-B337-32EF709A1B6D}"/>
          </ac:spMkLst>
        </pc:spChg>
        <pc:spChg chg="mod">
          <ac:chgData name="Messaoudi, Damien (uid34375)" userId="4f89949d-5cea-46b7-a9d2-0e5d2d2bdbd6" providerId="ADAL" clId="{86E5DE5A-1D95-4C95-BA7C-200C66EDCA9A}" dt="2020-11-13T18:12:23.467" v="262"/>
          <ac:spMkLst>
            <pc:docMk/>
            <pc:sldMk cId="2411601403" sldId="260"/>
            <ac:spMk id="46" creationId="{9A29EB85-759B-4B6F-8280-7D8CBA30150E}"/>
          </ac:spMkLst>
        </pc:spChg>
        <pc:spChg chg="del">
          <ac:chgData name="Messaoudi, Damien (uid34375)" userId="4f89949d-5cea-46b7-a9d2-0e5d2d2bdbd6" providerId="ADAL" clId="{86E5DE5A-1D95-4C95-BA7C-200C66EDCA9A}" dt="2020-11-13T18:12:37.060" v="294"/>
          <ac:spMkLst>
            <pc:docMk/>
            <pc:sldMk cId="2411601403" sldId="260"/>
            <ac:spMk id="77" creationId="{4FC848DC-508A-492D-B722-F00A04D60B0C}"/>
          </ac:spMkLst>
        </pc:spChg>
        <pc:spChg chg="del">
          <ac:chgData name="Messaoudi, Damien (uid34375)" userId="4f89949d-5cea-46b7-a9d2-0e5d2d2bdbd6" providerId="ADAL" clId="{86E5DE5A-1D95-4C95-BA7C-200C66EDCA9A}" dt="2020-11-13T18:12:34.672" v="286"/>
          <ac:spMkLst>
            <pc:docMk/>
            <pc:sldMk cId="2411601403" sldId="260"/>
            <ac:spMk id="80" creationId="{E1B61BAC-D23E-4D47-9B61-9902A616746B}"/>
          </ac:spMkLst>
        </pc:spChg>
        <pc:spChg chg="del">
          <ac:chgData name="Messaoudi, Damien (uid34375)" userId="4f89949d-5cea-46b7-a9d2-0e5d2d2bdbd6" providerId="ADAL" clId="{86E5DE5A-1D95-4C95-BA7C-200C66EDCA9A}" dt="2020-11-13T18:12:29.885" v="278"/>
          <ac:spMkLst>
            <pc:docMk/>
            <pc:sldMk cId="2411601403" sldId="260"/>
            <ac:spMk id="82" creationId="{75CD8D71-E2B4-4629-B9BB-4EF9F6A9F780}"/>
          </ac:spMkLst>
        </pc:spChg>
        <pc:spChg chg="mod">
          <ac:chgData name="Messaoudi, Damien (uid34375)" userId="4f89949d-5cea-46b7-a9d2-0e5d2d2bdbd6" providerId="ADAL" clId="{86E5DE5A-1D95-4C95-BA7C-200C66EDCA9A}" dt="2020-11-13T18:12:39.747" v="303"/>
          <ac:spMkLst>
            <pc:docMk/>
            <pc:sldMk cId="2411601403" sldId="260"/>
            <ac:spMk id="93" creationId="{0B0A38B2-896B-48E2-B337-32EF709A1B6D}"/>
          </ac:spMkLst>
        </pc:spChg>
        <pc:spChg chg="mod">
          <ac:chgData name="Messaoudi, Damien (uid34375)" userId="4f89949d-5cea-46b7-a9d2-0e5d2d2bdbd6" providerId="ADAL" clId="{86E5DE5A-1D95-4C95-BA7C-200C66EDCA9A}" dt="2020-11-13T18:12:43.163" v="312"/>
          <ac:spMkLst>
            <pc:docMk/>
            <pc:sldMk cId="2411601403" sldId="260"/>
            <ac:spMk id="97" creationId="{071B8BE4-1C85-4DFC-AFDF-7EFDAEF71B4D}"/>
          </ac:spMkLst>
        </pc:spChg>
        <pc:spChg chg="mod">
          <ac:chgData name="Messaoudi, Damien (uid34375)" userId="4f89949d-5cea-46b7-a9d2-0e5d2d2bdbd6" providerId="ADAL" clId="{86E5DE5A-1D95-4C95-BA7C-200C66EDCA9A}" dt="2020-11-13T18:12:49.449" v="330"/>
          <ac:spMkLst>
            <pc:docMk/>
            <pc:sldMk cId="2411601403" sldId="260"/>
            <ac:spMk id="110" creationId="{83A1F760-0A78-41C6-B624-BE199BFA848F}"/>
          </ac:spMkLst>
        </pc:spChg>
        <pc:spChg chg="mod">
          <ac:chgData name="Messaoudi, Damien (uid34375)" userId="4f89949d-5cea-46b7-a9d2-0e5d2d2bdbd6" providerId="ADAL" clId="{86E5DE5A-1D95-4C95-BA7C-200C66EDCA9A}" dt="2020-11-13T18:12:49.456" v="332"/>
          <ac:spMkLst>
            <pc:docMk/>
            <pc:sldMk cId="2411601403" sldId="260"/>
            <ac:spMk id="205" creationId="{96AE2C49-424B-4049-9860-847324780B48}"/>
          </ac:spMkLst>
        </pc:spChg>
        <pc:spChg chg="mod">
          <ac:chgData name="Messaoudi, Damien (uid34375)" userId="4f89949d-5cea-46b7-a9d2-0e5d2d2bdbd6" providerId="ADAL" clId="{86E5DE5A-1D95-4C95-BA7C-200C66EDCA9A}" dt="2020-11-13T18:12:49.453" v="331"/>
          <ac:spMkLst>
            <pc:docMk/>
            <pc:sldMk cId="2411601403" sldId="260"/>
            <ac:spMk id="206" creationId="{0B0A38B2-896B-48E2-B337-32EF709A1B6D}"/>
          </ac:spMkLst>
        </pc:spChg>
        <pc:spChg chg="mod">
          <ac:chgData name="Messaoudi, Damien (uid34375)" userId="4f89949d-5cea-46b7-a9d2-0e5d2d2bdbd6" providerId="ADAL" clId="{86E5DE5A-1D95-4C95-BA7C-200C66EDCA9A}" dt="2020-11-13T18:12:45.983" v="321"/>
          <ac:spMkLst>
            <pc:docMk/>
            <pc:sldMk cId="2411601403" sldId="260"/>
            <ac:spMk id="208" creationId="{525F32E6-37AD-44BB-A50E-C7276A8AF566}"/>
          </ac:spMkLst>
        </pc:spChg>
        <pc:graphicFrameChg chg="mod">
          <ac:chgData name="Messaoudi, Damien (uid34375)" userId="4f89949d-5cea-46b7-a9d2-0e5d2d2bdbd6" providerId="ADAL" clId="{86E5DE5A-1D95-4C95-BA7C-200C66EDCA9A}" dt="2020-11-13T18:12:49.470" v="334"/>
          <ac:graphicFrameMkLst>
            <pc:docMk/>
            <pc:sldMk cId="2411601403" sldId="260"/>
            <ac:graphicFrameMk id="7" creationId="{5FF6C88D-5243-4597-9B50-AE235A4D8659}"/>
          </ac:graphicFrameMkLst>
        </pc:graphicFrameChg>
        <pc:cxnChg chg="mod">
          <ac:chgData name="Messaoudi, Damien (uid34375)" userId="4f89949d-5cea-46b7-a9d2-0e5d2d2bdbd6" providerId="ADAL" clId="{86E5DE5A-1D95-4C95-BA7C-200C66EDCA9A}" dt="2020-11-13T18:12:23.472" v="266"/>
          <ac:cxnSpMkLst>
            <pc:docMk/>
            <pc:sldMk cId="2411601403" sldId="260"/>
            <ac:cxnSpMk id="47" creationId="{C47BC242-67B3-4F5D-B3C0-F9EC7AF5B35D}"/>
          </ac:cxnSpMkLst>
        </pc:cxnChg>
      </pc:sldChg>
      <pc:sldChg chg="addSp modSp">
        <pc:chgData name="Messaoudi, Damien (uid34375)" userId="4f89949d-5cea-46b7-a9d2-0e5d2d2bdbd6" providerId="ADAL" clId="{86E5DE5A-1D95-4C95-BA7C-200C66EDCA9A}" dt="2020-11-13T18:11:34.377" v="136" actId="2710"/>
        <pc:sldMkLst>
          <pc:docMk/>
          <pc:sldMk cId="1206707620" sldId="261"/>
        </pc:sldMkLst>
        <pc:spChg chg="mod ord">
          <ac:chgData name="Messaoudi, Damien (uid34375)" userId="4f89949d-5cea-46b7-a9d2-0e5d2d2bdbd6" providerId="ADAL" clId="{86E5DE5A-1D95-4C95-BA7C-200C66EDCA9A}" dt="2020-11-13T18:11:34.377" v="136" actId="2710"/>
          <ac:spMkLst>
            <pc:docMk/>
            <pc:sldMk cId="1206707620" sldId="261"/>
            <ac:spMk id="2" creationId="{1FA8211C-EB5E-4B66-BBE0-2C78E2477DBC}"/>
          </ac:spMkLst>
        </pc:spChg>
        <pc:spChg chg="mod ord">
          <ac:chgData name="Messaoudi, Damien (uid34375)" userId="4f89949d-5cea-46b7-a9d2-0e5d2d2bdbd6" providerId="ADAL" clId="{86E5DE5A-1D95-4C95-BA7C-200C66EDCA9A}" dt="2020-11-13T18:11:28.692" v="115"/>
          <ac:spMkLst>
            <pc:docMk/>
            <pc:sldMk cId="1206707620" sldId="261"/>
            <ac:spMk id="3" creationId="{9CCE8099-ADFD-4854-BC59-24CF196A1FB0}"/>
          </ac:spMkLst>
        </pc:spChg>
        <pc:spChg chg="mod ord">
          <ac:chgData name="Messaoudi, Damien (uid34375)" userId="4f89949d-5cea-46b7-a9d2-0e5d2d2bdbd6" providerId="ADAL" clId="{86E5DE5A-1D95-4C95-BA7C-200C66EDCA9A}" dt="2020-11-13T18:11:29.471" v="133" actId="20577"/>
          <ac:spMkLst>
            <pc:docMk/>
            <pc:sldMk cId="1206707620" sldId="261"/>
            <ac:spMk id="4" creationId="{8ADDCBE7-D0BD-4CB7-B2AD-FA4CEB35B082}"/>
          </ac:spMkLst>
        </pc:spChg>
        <pc:spChg chg="add mod ord modVis">
          <ac:chgData name="Messaoudi, Damien (uid34375)" userId="4f89949d-5cea-46b7-a9d2-0e5d2d2bdbd6" providerId="ADAL" clId="{86E5DE5A-1D95-4C95-BA7C-200C66EDCA9A}" dt="2020-11-13T18:11:28.688" v="111"/>
          <ac:spMkLst>
            <pc:docMk/>
            <pc:sldMk cId="1206707620" sldId="261"/>
            <ac:spMk id="5" creationId="{1CB87AD2-7AA8-43BB-AC28-05568693AB8B}"/>
          </ac:spMkLst>
        </pc:spChg>
        <pc:graphicFrameChg chg="add mod ord modVis">
          <ac:chgData name="Messaoudi, Damien (uid34375)" userId="4f89949d-5cea-46b7-a9d2-0e5d2d2bdbd6" providerId="ADAL" clId="{86E5DE5A-1D95-4C95-BA7C-200C66EDCA9A}" dt="2020-11-13T18:11:29.977" v="135"/>
          <ac:graphicFrameMkLst>
            <pc:docMk/>
            <pc:sldMk cId="1206707620" sldId="261"/>
            <ac:graphicFrameMk id="6" creationId="{8AEF2050-ECCA-44CA-8617-5187E61CB848}"/>
          </ac:graphicFrameMkLst>
        </pc:graphicFrame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BF10EEC-7180-40B0-99AD-49EBF1D70253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1847850" y="1600200"/>
            <a:ext cx="9972676" cy="1756792"/>
          </a:xfrm>
        </p:spPr>
        <p:txBody>
          <a:bodyPr anchor="b"/>
          <a:lstStyle>
            <a:lvl1pPr algn="l">
              <a:lnSpc>
                <a:spcPts val="5000"/>
              </a:lnSpc>
              <a:spcBef>
                <a:spcPts val="0"/>
              </a:spcBef>
              <a:spcAft>
                <a:spcPts val="0"/>
              </a:spcAft>
              <a:defRPr sz="5000"/>
            </a:lvl1pPr>
          </a:lstStyle>
          <a:p>
            <a:r>
              <a:rPr lang="fr-FR"/>
              <a:t>Modifiez le style du titre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A366ED8-AB52-4EC1-B9BB-6625AECB2954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1847849" y="3465004"/>
            <a:ext cx="9972675" cy="792088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600" cap="all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AB05EF9-52FC-4156-ACA1-536839172EF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1847849" y="4330339"/>
            <a:ext cx="9972675" cy="17989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8850907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7027BD71-4399-4B10-B541-DEE01F2E59A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071F8E7-6C99-42F7-A33B-A1164F4652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892016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9BA8FB27-B372-40DA-B6AA-742C42B42170}"/>
              </a:ext>
            </a:extLst>
          </p:cNvPr>
          <p:cNvSpPr>
            <a:spLocks/>
          </p:cNvSpPr>
          <p:nvPr/>
        </p:nvSpPr>
        <p:spPr bwMode="gray">
          <a:xfrm>
            <a:off x="0" y="0"/>
            <a:ext cx="6618313" cy="6858000"/>
          </a:xfrm>
          <a:custGeom>
            <a:avLst/>
            <a:gdLst>
              <a:gd name="connsiteX0" fmla="*/ 4780205 w 6618313"/>
              <a:gd name="connsiteY0" fmla="*/ 0 h 6858000"/>
              <a:gd name="connsiteX1" fmla="*/ 6618313 w 6618313"/>
              <a:gd name="connsiteY1" fmla="*/ 0 h 6858000"/>
              <a:gd name="connsiteX2" fmla="*/ 4229619 w 6618313"/>
              <a:gd name="connsiteY2" fmla="*/ 6509169 h 6858000"/>
              <a:gd name="connsiteX3" fmla="*/ 4066561 w 6618313"/>
              <a:gd name="connsiteY3" fmla="*/ 6858000 h 6858000"/>
              <a:gd name="connsiteX4" fmla="*/ 308462 w 6618313"/>
              <a:gd name="connsiteY4" fmla="*/ 6858000 h 6858000"/>
              <a:gd name="connsiteX5" fmla="*/ 143992 w 6618313"/>
              <a:gd name="connsiteY5" fmla="*/ 6504932 h 6858000"/>
              <a:gd name="connsiteX6" fmla="*/ 32492 w 6618313"/>
              <a:gd name="connsiteY6" fmla="*/ 6199617 h 6858000"/>
              <a:gd name="connsiteX7" fmla="*/ 0 w 6618313"/>
              <a:gd name="connsiteY7" fmla="*/ 6110647 h 6858000"/>
              <a:gd name="connsiteX8" fmla="*/ 0 w 6618313"/>
              <a:gd name="connsiteY8" fmla="*/ 1076066 h 6858000"/>
              <a:gd name="connsiteX9" fmla="*/ 57021 w 6618313"/>
              <a:gd name="connsiteY9" fmla="*/ 1232363 h 6858000"/>
              <a:gd name="connsiteX10" fmla="*/ 1764690 w 6618313"/>
              <a:gd name="connsiteY10" fmla="*/ 5913189 h 6858000"/>
              <a:gd name="connsiteX11" fmla="*/ 2186806 w 6618313"/>
              <a:gd name="connsiteY11" fmla="*/ 6209061 h 6858000"/>
              <a:gd name="connsiteX12" fmla="*/ 2187511 w 6618313"/>
              <a:gd name="connsiteY12" fmla="*/ 6209061 h 6858000"/>
              <a:gd name="connsiteX13" fmla="*/ 2609627 w 6618313"/>
              <a:gd name="connsiteY13" fmla="*/ 5913895 h 6858000"/>
              <a:gd name="connsiteX14" fmla="*/ 4780205 w 6618313"/>
              <a:gd name="connsiteY1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618313" h="6858000">
                <a:moveTo>
                  <a:pt x="4780205" y="0"/>
                </a:moveTo>
                <a:lnTo>
                  <a:pt x="6618313" y="0"/>
                </a:lnTo>
                <a:cubicBezTo>
                  <a:pt x="6618313" y="0"/>
                  <a:pt x="6618313" y="0"/>
                  <a:pt x="4229619" y="6509169"/>
                </a:cubicBezTo>
                <a:cubicBezTo>
                  <a:pt x="4184443" y="6632036"/>
                  <a:pt x="4129384" y="6748549"/>
                  <a:pt x="4066561" y="6858000"/>
                </a:cubicBezTo>
                <a:cubicBezTo>
                  <a:pt x="4066561" y="6858000"/>
                  <a:pt x="4066561" y="6858000"/>
                  <a:pt x="308462" y="6858000"/>
                </a:cubicBezTo>
                <a:cubicBezTo>
                  <a:pt x="244227" y="6747137"/>
                  <a:pt x="189168" y="6629212"/>
                  <a:pt x="143992" y="6504932"/>
                </a:cubicBezTo>
                <a:cubicBezTo>
                  <a:pt x="143992" y="6504932"/>
                  <a:pt x="143992" y="6504932"/>
                  <a:pt x="32492" y="6199617"/>
                </a:cubicBezTo>
                <a:lnTo>
                  <a:pt x="0" y="6110647"/>
                </a:lnTo>
                <a:lnTo>
                  <a:pt x="0" y="1076066"/>
                </a:lnTo>
                <a:lnTo>
                  <a:pt x="57021" y="1232363"/>
                </a:lnTo>
                <a:cubicBezTo>
                  <a:pt x="344591" y="2020610"/>
                  <a:pt x="855827" y="3421939"/>
                  <a:pt x="1764690" y="5913189"/>
                </a:cubicBezTo>
                <a:cubicBezTo>
                  <a:pt x="1862101" y="6180109"/>
                  <a:pt x="2092218" y="6209061"/>
                  <a:pt x="2186806" y="6209061"/>
                </a:cubicBezTo>
                <a:cubicBezTo>
                  <a:pt x="2186806" y="6209061"/>
                  <a:pt x="2186806" y="6209061"/>
                  <a:pt x="2187511" y="6209061"/>
                </a:cubicBezTo>
                <a:cubicBezTo>
                  <a:pt x="2282099" y="6209061"/>
                  <a:pt x="2512216" y="6180109"/>
                  <a:pt x="2609627" y="5913895"/>
                </a:cubicBezTo>
                <a:cubicBezTo>
                  <a:pt x="2609627" y="5913895"/>
                  <a:pt x="2609627" y="5913895"/>
                  <a:pt x="4780205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981953F5-23B4-442B-BCAB-3CFACF9EB4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712835" y="341919"/>
            <a:ext cx="2107801" cy="743854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BF10EEC-7180-40B0-99AD-49EBF1D70253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1847849" y="2672916"/>
            <a:ext cx="9972676" cy="1756792"/>
          </a:xfrm>
        </p:spPr>
        <p:txBody>
          <a:bodyPr anchor="ctr"/>
          <a:lstStyle>
            <a:lvl1pPr algn="l">
              <a:lnSpc>
                <a:spcPts val="5000"/>
              </a:lnSpc>
              <a:defRPr sz="5800"/>
            </a:lvl1pPr>
          </a:lstStyle>
          <a:p>
            <a:r>
              <a:rPr lang="fr-FR"/>
              <a:t>Modifiez le style du titre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1038164-F6D3-4587-A969-E96281877C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462907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8471685-7D27-41C2-BB27-E58202061E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CB13D563-06B7-404F-BB11-30D509A866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FF592FA-5F66-4F8A-BADA-B1572752FA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F8DFAC-312D-433E-A2AB-7A5857F64398}" type="datetimeFigureOut">
              <a:rPr lang="fr-FR" smtClean="0"/>
              <a:t>13/11/2020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27D9096-B659-4275-9F54-8D360F2B63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CEB7923B-8748-4F11-8E23-E2C6C52382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151437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lead">
    <p:bg bwMode="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57F30281-A66C-49CD-BC67-805AF8185F1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5" y="393228"/>
            <a:ext cx="11449050" cy="983544"/>
          </a:xfrm>
        </p:spPr>
        <p:txBody>
          <a:bodyPr/>
          <a:lstStyle>
            <a:lvl1pPr>
              <a:lnSpc>
                <a:spcPts val="3800"/>
              </a:lnSpc>
              <a:defRPr sz="3800"/>
            </a:lvl1pPr>
          </a:lstStyle>
          <a:p>
            <a:r>
              <a:rPr lang="fr-FR" noProof="0"/>
              <a:t>Modifiez le style du titre</a:t>
            </a:r>
            <a:endParaRPr lang="de-DE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C3BF31D-6648-425A-8115-2703ABA5A4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371474" y="1420396"/>
            <a:ext cx="11449051" cy="676456"/>
          </a:xfrm>
        </p:spPr>
        <p:txBody>
          <a:bodyPr/>
          <a:lstStyle>
            <a:lvl1pPr marL="0" indent="0">
              <a:buNone/>
              <a:defRPr sz="1900" cap="all" spc="8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pour modifier les styles du texte du masque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65483044-202F-42BE-B623-A05A7143C4E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AF49845-489A-4610-8F7A-332E15A8221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030166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CC325EB-BE14-422D-A6DB-EC36DD50623F}"/>
              </a:ext>
            </a:extLst>
          </p:cNvPr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F3B27D5-EA0E-4516-B95F-89731B3E78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365" y="772324"/>
            <a:ext cx="11449160" cy="280412"/>
          </a:xfrm>
        </p:spPr>
        <p:txBody>
          <a:bodyPr/>
          <a:lstStyle>
            <a:lvl1pPr marL="0" indent="0">
              <a:buNone/>
              <a:defRPr sz="1600" cap="all" spc="8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A17F5985-A924-467A-A0A4-F51B07D2BD9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317AF036-266E-40BE-B0E0-C9289E59DA3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7C1C86E-090F-4145-8295-6AC6218E61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537627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 and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CC325EB-BE14-422D-A6DB-EC36DD50623F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371476" y="1592263"/>
            <a:ext cx="5545138" cy="453707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F3B27D5-EA0E-4516-B95F-89731B3E78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772324"/>
            <a:ext cx="11449050" cy="280412"/>
          </a:xfrm>
        </p:spPr>
        <p:txBody>
          <a:bodyPr/>
          <a:lstStyle>
            <a:lvl1pPr marL="0" indent="0">
              <a:buNone/>
              <a:defRPr sz="1600" cap="all" spc="8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A17F5985-A924-467A-A0A4-F51B07D2BD9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C8604F5-DBA2-40D0-9476-4D86666A5A24}"/>
              </a:ext>
            </a:extLst>
          </p:cNvPr>
          <p:cNvSpPr>
            <a:spLocks noGrp="1"/>
          </p:cNvSpPr>
          <p:nvPr>
            <p:ph idx="16"/>
          </p:nvPr>
        </p:nvSpPr>
        <p:spPr bwMode="gray">
          <a:xfrm>
            <a:off x="6275387" y="1592263"/>
            <a:ext cx="5545137" cy="453707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6ACC231-D213-4B79-9786-576D7699694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43D5C47-19C8-4937-851E-9849C4C289D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594136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 and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CC325EB-BE14-422D-A6DB-EC36DD50623F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371476" y="1592263"/>
            <a:ext cx="3563937" cy="453707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F3B27D5-EA0E-4516-B95F-89731B3E78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772324"/>
            <a:ext cx="11449050" cy="280412"/>
          </a:xfrm>
        </p:spPr>
        <p:txBody>
          <a:bodyPr/>
          <a:lstStyle>
            <a:lvl1pPr marL="0" indent="0">
              <a:buNone/>
              <a:defRPr sz="1600" cap="all" spc="8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A17F5985-A924-467A-A0A4-F51B07D2BD9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C8604F5-DBA2-40D0-9476-4D86666A5A24}"/>
              </a:ext>
            </a:extLst>
          </p:cNvPr>
          <p:cNvSpPr>
            <a:spLocks noGrp="1"/>
          </p:cNvSpPr>
          <p:nvPr>
            <p:ph idx="16"/>
          </p:nvPr>
        </p:nvSpPr>
        <p:spPr bwMode="gray">
          <a:xfrm>
            <a:off x="4295775" y="1592263"/>
            <a:ext cx="3600450" cy="453707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6ACC231-D213-4B79-9786-576D7699694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43D5C47-19C8-4937-851E-9849C4C289D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83DD1BA8-04B4-476C-AAC7-0F9177B68237}"/>
              </a:ext>
            </a:extLst>
          </p:cNvPr>
          <p:cNvSpPr>
            <a:spLocks noGrp="1"/>
          </p:cNvSpPr>
          <p:nvPr>
            <p:ph idx="19"/>
          </p:nvPr>
        </p:nvSpPr>
        <p:spPr bwMode="gray">
          <a:xfrm>
            <a:off x="8256588" y="1592263"/>
            <a:ext cx="3563936" cy="453707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935476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 and picture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CC325EB-BE14-422D-A6DB-EC36DD50623F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371475" y="1592263"/>
            <a:ext cx="5545139" cy="453707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F3B27D5-EA0E-4516-B95F-89731B3E78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772324"/>
            <a:ext cx="11449050" cy="280412"/>
          </a:xfrm>
        </p:spPr>
        <p:txBody>
          <a:bodyPr/>
          <a:lstStyle>
            <a:lvl1pPr marL="0" indent="0">
              <a:buNone/>
              <a:defRPr sz="1600" cap="all" spc="8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A17F5985-A924-467A-A0A4-F51B07D2BD9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6ACC231-D213-4B79-9786-576D7699694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405CAC59-96CE-478C-9C75-954091EA13C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6275385" y="1592263"/>
            <a:ext cx="5545139" cy="4285009"/>
          </a:xfrm>
          <a:solidFill>
            <a:schemeClr val="tx1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57018D7-73ED-44D4-933F-1BEAB17205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275388" y="5910894"/>
            <a:ext cx="5545136" cy="218443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de-DE" dirty="0"/>
              <a:t>Bildunterschrift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F1885B7-2E03-47DD-BD4B-63B7ACC2CC3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163869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 and pictur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CC325EB-BE14-422D-A6DB-EC36DD50623F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371364" y="1592263"/>
            <a:ext cx="2592499" cy="453707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F3B27D5-EA0E-4516-B95F-89731B3E78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365" y="772324"/>
            <a:ext cx="11449160" cy="280412"/>
          </a:xfrm>
        </p:spPr>
        <p:txBody>
          <a:bodyPr/>
          <a:lstStyle>
            <a:lvl1pPr marL="0" indent="0">
              <a:buNone/>
              <a:defRPr sz="1600" cap="all" spc="8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A17F5985-A924-467A-A0A4-F51B07D2BD9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6ACC231-D213-4B79-9786-576D7699694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405CAC59-96CE-478C-9C75-954091EA13C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3324225" y="1592263"/>
            <a:ext cx="8496300" cy="4285009"/>
          </a:xfrm>
          <a:solidFill>
            <a:schemeClr val="tx1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57018D7-73ED-44D4-933F-1BEAB17205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324225" y="5910894"/>
            <a:ext cx="8496300" cy="218443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de-DE" dirty="0"/>
              <a:t>Bildunterschrift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3A71FD0-D6A4-4724-A464-B27A01326CB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algn="l"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473592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900BC5B3-F2A0-4A8D-9639-D8303B9B511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0" y="0"/>
            <a:ext cx="12192000" cy="6858000"/>
          </a:xfrm>
          <a:solidFill>
            <a:schemeClr val="tx1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7F30281-A66C-49CD-BC67-805AF8185F1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C3BF31D-6648-425A-8115-2703ABA5A4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772324"/>
            <a:ext cx="11449050" cy="280412"/>
          </a:xfrm>
        </p:spPr>
        <p:txBody>
          <a:bodyPr/>
          <a:lstStyle>
            <a:lvl1pPr marL="0" indent="0">
              <a:buNone/>
              <a:defRPr sz="1600" cap="all" spc="8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65483044-202F-42BE-B623-A05A7143C4E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4282ECD-EAC2-4687-ADA4-43F3F143166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394734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57F30281-A66C-49CD-BC67-805AF8185F1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C3BF31D-6648-425A-8115-2703ABA5A4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365" y="772324"/>
            <a:ext cx="11449160" cy="280412"/>
          </a:xfrm>
        </p:spPr>
        <p:txBody>
          <a:bodyPr/>
          <a:lstStyle>
            <a:lvl1pPr marL="0" indent="0">
              <a:buNone/>
              <a:defRPr sz="1600" cap="all" spc="8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65483044-202F-42BE-B623-A05A7143C4E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49D1E11-1F27-43E9-A619-3800CF71FD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703283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B581E56A-A401-4145-99F0-ECBCE6A05E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537964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Diapositive think-cell" r:id="rId17" imgW="351" imgH="351" progId="TCLayout.ActiveDocument.1">
                  <p:embed/>
                </p:oleObj>
              </mc:Choice>
              <mc:Fallback>
                <p:oleObj name="Diapositive think-cell" r:id="rId17" imgW="351" imgH="351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B581E56A-A401-4145-99F0-ECBCE6A05E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5F4E4BC-EB4E-419C-BAEA-A971E43429D5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 err="1">
              <a:solidFill>
                <a:schemeClr val="tx1"/>
              </a:solidFill>
              <a:latin typeface="Vitesco" panose="020B0504020202020204" pitchFamily="34" charset="0"/>
              <a:ea typeface="+mj-ea"/>
              <a:cs typeface="+mj-cs"/>
              <a:sym typeface="Vitesco" panose="020B05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31F3E609-30E1-42A9-8D5E-E61AA83FAD6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5" y="355602"/>
            <a:ext cx="11449050" cy="3651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B0A38B2-896B-48E2-B337-32EF709A1B6D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71475" y="1592263"/>
            <a:ext cx="11449050" cy="45370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3" name="Foliennummernplatzhalter 22">
            <a:extLst>
              <a:ext uri="{FF2B5EF4-FFF2-40B4-BE49-F238E27FC236}">
                <a16:creationId xmlns:a16="http://schemas.microsoft.com/office/drawing/2014/main" id="{8CC8C263-9E2F-40C3-8867-CB4A537C7B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371364" y="6570873"/>
            <a:ext cx="360040" cy="185105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 spc="30" baseline="0">
                <a:solidFill>
                  <a:schemeClr val="tx1"/>
                </a:solidFill>
              </a:defRPr>
            </a:lvl1pPr>
          </a:lstStyle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1A783CE7-0EF9-4D14-8316-C8DF4EE33AA6}"/>
              </a:ext>
            </a:extLst>
          </p:cNvPr>
          <p:cNvSpPr/>
          <p:nvPr/>
        </p:nvSpPr>
        <p:spPr bwMode="gray">
          <a:xfrm>
            <a:off x="0" y="0"/>
            <a:ext cx="138113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CB3DE9A-7BF9-4BA5-BE98-B2F461168D0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47849" y="6570875"/>
            <a:ext cx="8496301" cy="18510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519853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Tx/>
        <a:buChar char="&gt;"/>
        <a:defRPr sz="1600" kern="1200" spc="20" baseline="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Tx/>
        <a:buChar char="&gt;"/>
        <a:defRPr sz="1600" kern="1200" spc="20" baseline="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Tx/>
        <a:buChar char="&gt;"/>
        <a:defRPr sz="1600" kern="1200" spc="20" baseline="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74625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Tx/>
        <a:buChar char="&gt;"/>
        <a:defRPr sz="1600" kern="1200" spc="20" baseline="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Tx/>
        <a:buChar char="&gt;"/>
        <a:defRPr sz="1600" kern="1200" spc="2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87">
          <p15:clr>
            <a:srgbClr val="F26B43"/>
          </p15:clr>
        </p15:guide>
        <p15:guide id="2" pos="234">
          <p15:clr>
            <a:srgbClr val="F26B43"/>
          </p15:clr>
        </p15:guide>
        <p15:guide id="3" pos="7446">
          <p15:clr>
            <a:srgbClr val="F26B43"/>
          </p15:clr>
        </p15:guide>
        <p15:guide id="4" pos="3727">
          <p15:clr>
            <a:srgbClr val="F26B43"/>
          </p15:clr>
        </p15:guide>
        <p15:guide id="5" pos="3953">
          <p15:clr>
            <a:srgbClr val="F26B43"/>
          </p15:clr>
        </p15:guide>
        <p15:guide id="6" pos="3024">
          <p15:clr>
            <a:srgbClr val="F26B43"/>
          </p15:clr>
        </p15:guide>
        <p15:guide id="7" pos="2797">
          <p15:clr>
            <a:srgbClr val="F26B43"/>
          </p15:clr>
        </p15:guide>
        <p15:guide id="8" pos="4656">
          <p15:clr>
            <a:srgbClr val="F26B43"/>
          </p15:clr>
        </p15:guide>
        <p15:guide id="9" pos="4883">
          <p15:clr>
            <a:srgbClr val="F26B43"/>
          </p15:clr>
        </p15:guide>
        <p15:guide id="10" pos="5586">
          <p15:clr>
            <a:srgbClr val="F26B43"/>
          </p15:clr>
        </p15:guide>
        <p15:guide id="11" pos="5813">
          <p15:clr>
            <a:srgbClr val="F26B43"/>
          </p15:clr>
        </p15:guide>
        <p15:guide id="12" pos="1867">
          <p15:clr>
            <a:srgbClr val="F26B43"/>
          </p15:clr>
        </p15:guide>
        <p15:guide id="13" pos="2094">
          <p15:clr>
            <a:srgbClr val="F26B43"/>
          </p15:clr>
        </p15:guide>
        <p15:guide id="14" pos="1164">
          <p15:clr>
            <a:srgbClr val="F26B43"/>
          </p15:clr>
        </p15:guide>
        <p15:guide id="15" pos="937">
          <p15:clr>
            <a:srgbClr val="F26B43"/>
          </p15:clr>
        </p15:guide>
        <p15:guide id="16" pos="6516">
          <p15:clr>
            <a:srgbClr val="F26B43"/>
          </p15:clr>
        </p15:guide>
        <p15:guide id="17" pos="6743">
          <p15:clr>
            <a:srgbClr val="F26B43"/>
          </p15:clr>
        </p15:guide>
        <p15:guide id="18" orient="horz" pos="1003">
          <p15:clr>
            <a:srgbClr val="F26B43"/>
          </p15:clr>
        </p15:guide>
        <p15:guide id="19" orient="horz" pos="3861">
          <p15:clr>
            <a:srgbClr val="F26B43"/>
          </p15:clr>
        </p15:guide>
        <p15:guide id="20" pos="3840">
          <p15:clr>
            <a:srgbClr val="F26B43"/>
          </p15:clr>
        </p15:guide>
        <p15:guide id="21" orient="horz" pos="2432">
          <p15:clr>
            <a:srgbClr val="F26B43"/>
          </p15:clr>
        </p15:guide>
        <p15:guide id="22" pos="2479">
          <p15:clr>
            <a:srgbClr val="F26B43"/>
          </p15:clr>
        </p15:guide>
        <p15:guide id="23" pos="2706">
          <p15:clr>
            <a:srgbClr val="F26B43"/>
          </p15:clr>
        </p15:guide>
        <p15:guide id="24" pos="5201">
          <p15:clr>
            <a:srgbClr val="F26B43"/>
          </p15:clr>
        </p15:guide>
        <p15:guide id="25" pos="49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17.xml"/><Relationship Id="rId18" Type="http://schemas.openxmlformats.org/officeDocument/2006/relationships/tags" Target="../tags/tag22.xml"/><Relationship Id="rId26" Type="http://schemas.openxmlformats.org/officeDocument/2006/relationships/tags" Target="../tags/tag30.xml"/><Relationship Id="rId39" Type="http://schemas.openxmlformats.org/officeDocument/2006/relationships/tags" Target="../tags/tag43.xml"/><Relationship Id="rId21" Type="http://schemas.openxmlformats.org/officeDocument/2006/relationships/tags" Target="../tags/tag25.xml"/><Relationship Id="rId34" Type="http://schemas.openxmlformats.org/officeDocument/2006/relationships/tags" Target="../tags/tag38.xml"/><Relationship Id="rId42" Type="http://schemas.openxmlformats.org/officeDocument/2006/relationships/tags" Target="../tags/tag46.xml"/><Relationship Id="rId47" Type="http://schemas.openxmlformats.org/officeDocument/2006/relationships/tags" Target="../tags/tag51.xml"/><Relationship Id="rId50" Type="http://schemas.openxmlformats.org/officeDocument/2006/relationships/tags" Target="../tags/tag54.xml"/><Relationship Id="rId55" Type="http://schemas.openxmlformats.org/officeDocument/2006/relationships/tags" Target="../tags/tag59.xml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17" Type="http://schemas.openxmlformats.org/officeDocument/2006/relationships/tags" Target="../tags/tag21.xml"/><Relationship Id="rId25" Type="http://schemas.openxmlformats.org/officeDocument/2006/relationships/tags" Target="../tags/tag29.xml"/><Relationship Id="rId33" Type="http://schemas.openxmlformats.org/officeDocument/2006/relationships/tags" Target="../tags/tag37.xml"/><Relationship Id="rId38" Type="http://schemas.openxmlformats.org/officeDocument/2006/relationships/tags" Target="../tags/tag42.xml"/><Relationship Id="rId46" Type="http://schemas.openxmlformats.org/officeDocument/2006/relationships/tags" Target="../tags/tag50.xml"/><Relationship Id="rId59" Type="http://schemas.openxmlformats.org/officeDocument/2006/relationships/image" Target="../media/image1.emf"/><Relationship Id="rId2" Type="http://schemas.openxmlformats.org/officeDocument/2006/relationships/tags" Target="../tags/tag6.xml"/><Relationship Id="rId16" Type="http://schemas.openxmlformats.org/officeDocument/2006/relationships/tags" Target="../tags/tag20.xml"/><Relationship Id="rId20" Type="http://schemas.openxmlformats.org/officeDocument/2006/relationships/tags" Target="../tags/tag24.xml"/><Relationship Id="rId29" Type="http://schemas.openxmlformats.org/officeDocument/2006/relationships/tags" Target="../tags/tag33.xml"/><Relationship Id="rId41" Type="http://schemas.openxmlformats.org/officeDocument/2006/relationships/tags" Target="../tags/tag45.xml"/><Relationship Id="rId54" Type="http://schemas.openxmlformats.org/officeDocument/2006/relationships/tags" Target="../tags/tag58.xml"/><Relationship Id="rId1" Type="http://schemas.openxmlformats.org/officeDocument/2006/relationships/vmlDrawing" Target="../drawings/vmlDrawing3.v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24" Type="http://schemas.openxmlformats.org/officeDocument/2006/relationships/tags" Target="../tags/tag28.xml"/><Relationship Id="rId32" Type="http://schemas.openxmlformats.org/officeDocument/2006/relationships/tags" Target="../tags/tag36.xml"/><Relationship Id="rId37" Type="http://schemas.openxmlformats.org/officeDocument/2006/relationships/tags" Target="../tags/tag41.xml"/><Relationship Id="rId40" Type="http://schemas.openxmlformats.org/officeDocument/2006/relationships/tags" Target="../tags/tag44.xml"/><Relationship Id="rId45" Type="http://schemas.openxmlformats.org/officeDocument/2006/relationships/tags" Target="../tags/tag49.xml"/><Relationship Id="rId53" Type="http://schemas.openxmlformats.org/officeDocument/2006/relationships/tags" Target="../tags/tag57.xml"/><Relationship Id="rId58" Type="http://schemas.openxmlformats.org/officeDocument/2006/relationships/oleObject" Target="../embeddings/oleObject3.bin"/><Relationship Id="rId5" Type="http://schemas.openxmlformats.org/officeDocument/2006/relationships/tags" Target="../tags/tag9.xml"/><Relationship Id="rId15" Type="http://schemas.openxmlformats.org/officeDocument/2006/relationships/tags" Target="../tags/tag19.xml"/><Relationship Id="rId23" Type="http://schemas.openxmlformats.org/officeDocument/2006/relationships/tags" Target="../tags/tag27.xml"/><Relationship Id="rId28" Type="http://schemas.openxmlformats.org/officeDocument/2006/relationships/tags" Target="../tags/tag32.xml"/><Relationship Id="rId36" Type="http://schemas.openxmlformats.org/officeDocument/2006/relationships/tags" Target="../tags/tag40.xml"/><Relationship Id="rId49" Type="http://schemas.openxmlformats.org/officeDocument/2006/relationships/tags" Target="../tags/tag53.xml"/><Relationship Id="rId57" Type="http://schemas.openxmlformats.org/officeDocument/2006/relationships/slideLayout" Target="../slideLayouts/slideLayout3.xml"/><Relationship Id="rId10" Type="http://schemas.openxmlformats.org/officeDocument/2006/relationships/tags" Target="../tags/tag14.xml"/><Relationship Id="rId19" Type="http://schemas.openxmlformats.org/officeDocument/2006/relationships/tags" Target="../tags/tag23.xml"/><Relationship Id="rId31" Type="http://schemas.openxmlformats.org/officeDocument/2006/relationships/tags" Target="../tags/tag35.xml"/><Relationship Id="rId44" Type="http://schemas.openxmlformats.org/officeDocument/2006/relationships/tags" Target="../tags/tag48.xml"/><Relationship Id="rId52" Type="http://schemas.openxmlformats.org/officeDocument/2006/relationships/tags" Target="../tags/tag56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tags" Target="../tags/tag18.xml"/><Relationship Id="rId22" Type="http://schemas.openxmlformats.org/officeDocument/2006/relationships/tags" Target="../tags/tag26.xml"/><Relationship Id="rId27" Type="http://schemas.openxmlformats.org/officeDocument/2006/relationships/tags" Target="../tags/tag31.xml"/><Relationship Id="rId30" Type="http://schemas.openxmlformats.org/officeDocument/2006/relationships/tags" Target="../tags/tag34.xml"/><Relationship Id="rId35" Type="http://schemas.openxmlformats.org/officeDocument/2006/relationships/tags" Target="../tags/tag39.xml"/><Relationship Id="rId43" Type="http://schemas.openxmlformats.org/officeDocument/2006/relationships/tags" Target="../tags/tag47.xml"/><Relationship Id="rId48" Type="http://schemas.openxmlformats.org/officeDocument/2006/relationships/tags" Target="../tags/tag52.xml"/><Relationship Id="rId56" Type="http://schemas.openxmlformats.org/officeDocument/2006/relationships/tags" Target="../tags/tag60.xml"/><Relationship Id="rId8" Type="http://schemas.openxmlformats.org/officeDocument/2006/relationships/tags" Target="../tags/tag12.xml"/><Relationship Id="rId51" Type="http://schemas.openxmlformats.org/officeDocument/2006/relationships/tags" Target="../tags/tag55.xml"/><Relationship Id="rId3" Type="http://schemas.openxmlformats.org/officeDocument/2006/relationships/tags" Target="../tags/tag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35602A86-CCCD-4D57-8CCD-7CBA9ECAFB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9988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Diapositive think-cell" r:id="rId5" imgW="351" imgH="351" progId="TCLayout.ActiveDocument.1">
                  <p:embed/>
                </p:oleObj>
              </mc:Choice>
              <mc:Fallback>
                <p:oleObj name="Diapositive think-cell" r:id="rId5" imgW="351" imgH="351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35602A86-CCCD-4D57-8CCD-7CBA9ECAFB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EE36031-573D-46A2-BD3A-24D46C09682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5000" b="1" dirty="0" err="1">
              <a:solidFill>
                <a:schemeClr val="tx1"/>
              </a:solidFill>
              <a:latin typeface="Vitesco" panose="020B0504020202020204" pitchFamily="34" charset="0"/>
              <a:ea typeface="+mj-ea"/>
              <a:cs typeface="+mj-cs"/>
              <a:sym typeface="Vitesco" panose="020B0504020202020204" pitchFamily="34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B61B04E4-AF20-4054-B542-4D52E070D3B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PGE planning Q4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8671D3C7-AC70-4710-A2BD-C18D46145F5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E7B134C-7CB9-4E07-9F44-997E3260B6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00686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5FF6C88D-5243-4597-9B50-AE235A4D86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3563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Diapositive think-cell" r:id="rId58" imgW="351" imgH="351" progId="TCLayout.ActiveDocument.1">
                  <p:embed/>
                </p:oleObj>
              </mc:Choice>
              <mc:Fallback>
                <p:oleObj name="Diapositive think-cell" r:id="rId58" imgW="351" imgH="351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5FF6C88D-5243-4597-9B50-AE235A4D86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F7092C23-5292-4A3F-B8B5-BA9BFF1A3BA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1400" dirty="0" err="1">
              <a:solidFill>
                <a:schemeClr val="tx1"/>
              </a:solidFill>
              <a:latin typeface="Vitesco" panose="020B0504020202020204" pitchFamily="34" charset="0"/>
              <a:sym typeface="Vitesco" panose="020B0504020202020204" pitchFamily="34" charset="0"/>
            </a:endParaRP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51C7E15A-F60D-428F-9E64-57D66AC7616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C379F37E-C075-4EF2-ACD6-3B69D2264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lanning PGE</a:t>
            </a: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0B0A38B2-896B-48E2-B337-32EF709A1B6D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495800" y="1255713"/>
            <a:ext cx="1303338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96F89C7-94D5-4328-BE8B-250828495EFE}" type="datetime'''''''''''Nov''''''''''''''''''''''''''''''''''''''.'''''''">
              <a:rPr lang="fr-FR" altLang="en-US" sz="1400" b="1" smtClean="0"/>
              <a:pPr/>
              <a:t>Nov.</a:t>
            </a:fld>
            <a:endParaRPr lang="fr-FR" sz="1400" b="1" dirty="0">
              <a:sym typeface="+mn-lt"/>
            </a:endParaRP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4CB61E45-B936-4B62-963A-B10DB89DBC61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799138" y="1255713"/>
            <a:ext cx="134620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798A47-7314-4076-9907-4D00AA793011}" type="datetime'''''''Dé''''''''''''''''''''''''''''''c''''''''''''.'''''''">
              <a:rPr lang="fr-FR" altLang="en-US" sz="1400" b="1" smtClean="0"/>
              <a:pPr/>
              <a:t>Déc.</a:t>
            </a:fld>
            <a:endParaRPr lang="fr-FR" sz="1400" b="1" dirty="0">
              <a:sym typeface="+mn-lt"/>
            </a:endParaRPr>
          </a:p>
        </p:txBody>
      </p:sp>
      <p:sp>
        <p:nvSpPr>
          <p:cNvPr id="206" name="Textplatzhalter 2">
            <a:extLst>
              <a:ext uri="{FF2B5EF4-FFF2-40B4-BE49-F238E27FC236}">
                <a16:creationId xmlns:a16="http://schemas.microsoft.com/office/drawing/2014/main" id="{0B0A38B2-896B-48E2-B337-32EF709A1B6D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495801" y="1516063"/>
            <a:ext cx="428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fr-FR" sz="1400" b="1" dirty="0">
              <a:sym typeface="+mn-lt"/>
            </a:endParaRPr>
          </a:p>
        </p:txBody>
      </p:sp>
      <p:sp>
        <p:nvSpPr>
          <p:cNvPr id="207" name="Textplatzhalter 2">
            <a:extLst>
              <a:ext uri="{FF2B5EF4-FFF2-40B4-BE49-F238E27FC236}">
                <a16:creationId xmlns:a16="http://schemas.microsoft.com/office/drawing/2014/main" id="{0B0A38B2-896B-48E2-B337-32EF709A1B6D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538663" y="1516063"/>
            <a:ext cx="30480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DB6E63C-6A71-44FD-A574-9854FEDBE1BC}" type="datetime'''''''''''''''''''''''''''''''''4''5'''''''''''''''''''''''">
              <a:rPr lang="fr-FR" altLang="en-US" sz="1400" b="1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5</a:t>
            </a:fld>
            <a:endParaRPr lang="fr-FR" sz="1400" b="1" dirty="0">
              <a:sym typeface="+mn-lt"/>
            </a:endParaRPr>
          </a:p>
        </p:txBody>
      </p:sp>
      <p:sp>
        <p:nvSpPr>
          <p:cNvPr id="198" name="Textplatzhalter 2">
            <a:extLst>
              <a:ext uri="{FF2B5EF4-FFF2-40B4-BE49-F238E27FC236}">
                <a16:creationId xmlns:a16="http://schemas.microsoft.com/office/drawing/2014/main" id="{0B0A38B2-896B-48E2-B337-32EF709A1B6D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843464" y="1516063"/>
            <a:ext cx="30321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80D3218-1195-4A7D-B34D-9F55BB75C800}" type="datetime'''4''''''''6'''''''''''''''''''''''''''''''''''''''''">
              <a:rPr lang="fr-FR" altLang="en-US" sz="1400" b="1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</a:t>
            </a:fld>
            <a:endParaRPr lang="fr-FR" sz="1400" b="1" dirty="0">
              <a:sym typeface="+mn-lt"/>
            </a:endParaRPr>
          </a:p>
        </p:txBody>
      </p:sp>
      <p:sp>
        <p:nvSpPr>
          <p:cNvPr id="199" name="Textplatzhalter 2">
            <a:extLst>
              <a:ext uri="{FF2B5EF4-FFF2-40B4-BE49-F238E27FC236}">
                <a16:creationId xmlns:a16="http://schemas.microsoft.com/office/drawing/2014/main" id="{2213B979-02E5-4BD6-B30A-4C48DDFBD622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146675" y="1516063"/>
            <a:ext cx="30480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2EF88C6-DE29-43D4-96A4-F0F69B5E6926}" type="datetime'''''''''''''''''4''''''''''7'''''''''''">
              <a:rPr lang="fr-FR" altLang="en-US" sz="1400" b="1" smtClean="0"/>
              <a:pPr/>
              <a:t>47</a:t>
            </a:fld>
            <a:endParaRPr lang="fr-FR" sz="1400" b="1" dirty="0">
              <a:sym typeface="+mn-lt"/>
            </a:endParaRPr>
          </a:p>
        </p:txBody>
      </p:sp>
      <p:sp>
        <p:nvSpPr>
          <p:cNvPr id="200" name="Textplatzhalter 2">
            <a:extLst>
              <a:ext uri="{FF2B5EF4-FFF2-40B4-BE49-F238E27FC236}">
                <a16:creationId xmlns:a16="http://schemas.microsoft.com/office/drawing/2014/main" id="{588DD46C-413F-4E34-A769-B76E62DAECB6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451475" y="1516063"/>
            <a:ext cx="30321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5D16280-8A8D-4FB5-B145-5ACB2D6844A8}" type="datetime'''''''''''''4''''''''''''8'''''''''''''''''''''''">
              <a:rPr lang="fr-FR" altLang="en-US" sz="1400" b="1" smtClean="0"/>
              <a:pPr/>
              <a:t>48</a:t>
            </a:fld>
            <a:endParaRPr lang="fr-FR" sz="1400" b="1" dirty="0">
              <a:sym typeface="+mn-lt"/>
            </a:endParaRPr>
          </a:p>
        </p:txBody>
      </p:sp>
      <p:sp>
        <p:nvSpPr>
          <p:cNvPr id="201" name="Textplatzhalter 2">
            <a:extLst>
              <a:ext uri="{FF2B5EF4-FFF2-40B4-BE49-F238E27FC236}">
                <a16:creationId xmlns:a16="http://schemas.microsoft.com/office/drawing/2014/main" id="{9E3DF532-4266-471C-9184-7BFC99158AA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754688" y="1516063"/>
            <a:ext cx="30480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4B026E1-FFBC-47A9-B0B0-E09F2AAD7A9D}" type="datetime'''''''''''''''''4''''9'''''''">
              <a:rPr lang="fr-FR" altLang="en-US" sz="1400" b="1" smtClean="0"/>
              <a:pPr/>
              <a:t>49</a:t>
            </a:fld>
            <a:endParaRPr lang="fr-FR" sz="1400" b="1" dirty="0">
              <a:sym typeface="+mn-lt"/>
            </a:endParaRPr>
          </a:p>
        </p:txBody>
      </p:sp>
      <p:sp>
        <p:nvSpPr>
          <p:cNvPr id="202" name="Textplatzhalter 2">
            <a:extLst>
              <a:ext uri="{FF2B5EF4-FFF2-40B4-BE49-F238E27FC236}">
                <a16:creationId xmlns:a16="http://schemas.microsoft.com/office/drawing/2014/main" id="{DEC1CFA3-1652-4F36-B435-5BAB5897C478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059488" y="1516063"/>
            <a:ext cx="30480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0890ED-5397-45B9-A81C-FD4FE512B7CA}" type="datetime'''''5''''''''''''''0'''''''''''''''''''''''">
              <a:rPr lang="fr-FR" altLang="en-US" sz="1400" b="1" smtClean="0"/>
              <a:pPr/>
              <a:t>50</a:t>
            </a:fld>
            <a:endParaRPr lang="fr-FR" sz="1400" b="1" dirty="0">
              <a:sym typeface="+mn-lt"/>
            </a:endParaRPr>
          </a:p>
        </p:txBody>
      </p:sp>
      <p:sp>
        <p:nvSpPr>
          <p:cNvPr id="203" name="Textplatzhalter 2">
            <a:extLst>
              <a:ext uri="{FF2B5EF4-FFF2-40B4-BE49-F238E27FC236}">
                <a16:creationId xmlns:a16="http://schemas.microsoft.com/office/drawing/2014/main" id="{41325375-B557-4818-86A1-94426D7BB023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364288" y="1516063"/>
            <a:ext cx="30321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ECE063B-135E-48DE-A64D-B8E1FD47DF20}" type="datetime'''''''''''''''''''5''''''''''''''''''''''''''''''''''1'">
              <a:rPr lang="fr-FR" altLang="en-US" sz="1400" b="1" smtClean="0"/>
              <a:pPr/>
              <a:t>51</a:t>
            </a:fld>
            <a:endParaRPr lang="fr-FR" sz="1400" b="1" dirty="0">
              <a:sym typeface="+mn-lt"/>
            </a:endParaRPr>
          </a:p>
        </p:txBody>
      </p:sp>
      <p:sp>
        <p:nvSpPr>
          <p:cNvPr id="204" name="Textplatzhalter 2">
            <a:extLst>
              <a:ext uri="{FF2B5EF4-FFF2-40B4-BE49-F238E27FC236}">
                <a16:creationId xmlns:a16="http://schemas.microsoft.com/office/drawing/2014/main" id="{F4A31557-57FB-4A0F-BA45-D8BE22CB59A8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667500" y="1516063"/>
            <a:ext cx="30480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502526-4972-4909-A99D-5BEF55083DB9}" type="datetime'''5''''2'''''''''''''''''''''''''''''''''''''''''''">
              <a:rPr lang="fr-FR" altLang="en-US" sz="1400" b="1" smtClean="0"/>
              <a:pPr/>
              <a:t>52</a:t>
            </a:fld>
            <a:endParaRPr lang="fr-FR" sz="1400" b="1" dirty="0">
              <a:sym typeface="+mn-lt"/>
            </a:endParaRPr>
          </a:p>
        </p:txBody>
      </p:sp>
      <p:sp>
        <p:nvSpPr>
          <p:cNvPr id="205" name="Textplatzhalter 2">
            <a:extLst>
              <a:ext uri="{FF2B5EF4-FFF2-40B4-BE49-F238E27FC236}">
                <a16:creationId xmlns:a16="http://schemas.microsoft.com/office/drawing/2014/main" id="{96AE2C49-424B-4049-9860-847324780B48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972300" y="1516063"/>
            <a:ext cx="173038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fr-FR" sz="1400" b="1" dirty="0">
              <a:sym typeface="+mn-lt"/>
            </a:endParaRPr>
          </a:p>
        </p:txBody>
      </p:sp>
      <p:cxnSp>
        <p:nvCxnSpPr>
          <p:cNvPr id="68" name="Connecteur droit 67">
            <a:extLst>
              <a:ext uri="{FF2B5EF4-FFF2-40B4-BE49-F238E27FC236}">
                <a16:creationId xmlns:a16="http://schemas.microsoft.com/office/drawing/2014/main" id="{FFB8F57C-46A6-4804-BDAA-1393BE1D594D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7145338" y="1776414"/>
            <a:ext cx="0" cy="462597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necteur droit 66">
            <a:extLst>
              <a:ext uri="{FF2B5EF4-FFF2-40B4-BE49-F238E27FC236}">
                <a16:creationId xmlns:a16="http://schemas.microsoft.com/office/drawing/2014/main" id="{F386EB00-58C2-4430-83F6-B9F4048687EC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4495800" y="1776414"/>
            <a:ext cx="0" cy="462597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Connecteur droit 68">
            <a:extLst>
              <a:ext uri="{FF2B5EF4-FFF2-40B4-BE49-F238E27FC236}">
                <a16:creationId xmlns:a16="http://schemas.microsoft.com/office/drawing/2014/main" id="{2A33D548-2CFF-4D28-A8B5-B0B3DB8474F5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371475" y="1776414"/>
            <a:ext cx="0" cy="462597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Connecteur droit 72">
            <a:extLst>
              <a:ext uri="{FF2B5EF4-FFF2-40B4-BE49-F238E27FC236}">
                <a16:creationId xmlns:a16="http://schemas.microsoft.com/office/drawing/2014/main" id="{398D8D21-590D-4CB9-A708-FF63CDE1C45C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11996738" y="1776414"/>
            <a:ext cx="0" cy="462597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necteur droit 51">
            <a:extLst>
              <a:ext uri="{FF2B5EF4-FFF2-40B4-BE49-F238E27FC236}">
                <a16:creationId xmlns:a16="http://schemas.microsoft.com/office/drawing/2014/main" id="{3CF75F07-2A52-4AE5-B900-CEA1A3378E97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5799138" y="1776414"/>
            <a:ext cx="0" cy="46259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Connecteur droit 164">
            <a:extLst>
              <a:ext uri="{FF2B5EF4-FFF2-40B4-BE49-F238E27FC236}">
                <a16:creationId xmlns:a16="http://schemas.microsoft.com/office/drawing/2014/main" id="{25FCE6F6-CE92-44E0-8F71-B398B7859478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6059488" y="1776414"/>
            <a:ext cx="0" cy="46259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Connecteur droit 163">
            <a:extLst>
              <a:ext uri="{FF2B5EF4-FFF2-40B4-BE49-F238E27FC236}">
                <a16:creationId xmlns:a16="http://schemas.microsoft.com/office/drawing/2014/main" id="{CBBE023D-FC50-489A-9E34-F2177229035C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5754688" y="1776414"/>
            <a:ext cx="0" cy="46259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Connecteur droit 162">
            <a:extLst>
              <a:ext uri="{FF2B5EF4-FFF2-40B4-BE49-F238E27FC236}">
                <a16:creationId xmlns:a16="http://schemas.microsoft.com/office/drawing/2014/main" id="{D0B2752D-BA45-4AE6-B12D-72BBB199AD03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5451475" y="1776414"/>
            <a:ext cx="0" cy="46259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Connecteur droit 166">
            <a:extLst>
              <a:ext uri="{FF2B5EF4-FFF2-40B4-BE49-F238E27FC236}">
                <a16:creationId xmlns:a16="http://schemas.microsoft.com/office/drawing/2014/main" id="{0404803C-3BF3-4256-BB26-6FA89176B74D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6667500" y="1776414"/>
            <a:ext cx="0" cy="46259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Connecteur droit 160">
            <a:extLst>
              <a:ext uri="{FF2B5EF4-FFF2-40B4-BE49-F238E27FC236}">
                <a16:creationId xmlns:a16="http://schemas.microsoft.com/office/drawing/2014/main" id="{62820FD2-C45C-474E-A5CA-A42F46CFE6F2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4843463" y="1776414"/>
            <a:ext cx="0" cy="46259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Connecteur droit 165">
            <a:extLst>
              <a:ext uri="{FF2B5EF4-FFF2-40B4-BE49-F238E27FC236}">
                <a16:creationId xmlns:a16="http://schemas.microsoft.com/office/drawing/2014/main" id="{E897CAE9-C557-4BD4-9BA2-80D5C281DFBD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6364288" y="1776414"/>
            <a:ext cx="0" cy="46259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Connecteur droit 161">
            <a:extLst>
              <a:ext uri="{FF2B5EF4-FFF2-40B4-BE49-F238E27FC236}">
                <a16:creationId xmlns:a16="http://schemas.microsoft.com/office/drawing/2014/main" id="{66985234-F2CE-4BA0-BEE5-7A94094F2459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5146675" y="1776414"/>
            <a:ext cx="0" cy="46259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Connecteur droit 167">
            <a:extLst>
              <a:ext uri="{FF2B5EF4-FFF2-40B4-BE49-F238E27FC236}">
                <a16:creationId xmlns:a16="http://schemas.microsoft.com/office/drawing/2014/main" id="{5B10C8C3-5441-4C80-B075-CEF041F5A26D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6972300" y="1776414"/>
            <a:ext cx="0" cy="46259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Connecteur droit 159">
            <a:extLst>
              <a:ext uri="{FF2B5EF4-FFF2-40B4-BE49-F238E27FC236}">
                <a16:creationId xmlns:a16="http://schemas.microsoft.com/office/drawing/2014/main" id="{9F9089D9-73BF-423E-A200-7890F9A57767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4538663" y="1776414"/>
            <a:ext cx="0" cy="46259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Connecteur droit 70">
            <a:extLst>
              <a:ext uri="{FF2B5EF4-FFF2-40B4-BE49-F238E27FC236}">
                <a16:creationId xmlns:a16="http://schemas.microsoft.com/office/drawing/2014/main" id="{55E60C67-78E3-4D2E-838A-EA0C790E91EF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371475" y="6402388"/>
            <a:ext cx="116252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cteur droit 46">
            <a:extLst>
              <a:ext uri="{FF2B5EF4-FFF2-40B4-BE49-F238E27FC236}">
                <a16:creationId xmlns:a16="http://schemas.microsoft.com/office/drawing/2014/main" id="{C47BC242-67B3-4F5D-B3C0-F9EC7AF5B35D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5624513" y="1776413"/>
            <a:ext cx="0" cy="4789488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Connecteur droit 69">
            <a:extLst>
              <a:ext uri="{FF2B5EF4-FFF2-40B4-BE49-F238E27FC236}">
                <a16:creationId xmlns:a16="http://schemas.microsoft.com/office/drawing/2014/main" id="{0ABB837B-C773-464B-9FFD-4179A0CDE368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371475" y="1776413"/>
            <a:ext cx="116252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Textplatzhalter 2">
            <a:extLst>
              <a:ext uri="{FF2B5EF4-FFF2-40B4-BE49-F238E27FC236}">
                <a16:creationId xmlns:a16="http://schemas.microsoft.com/office/drawing/2014/main" id="{0B0A38B2-896B-48E2-B337-32EF709A1B6D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4930774" y="1951038"/>
            <a:ext cx="693738" cy="304800"/>
          </a:xfrm>
          <a:prstGeom prst="homePlate">
            <a:avLst>
              <a:gd name="adj" fmla="val 18229"/>
            </a:avLst>
          </a:prstGeom>
          <a:solidFill>
            <a:schemeClr val="hlink"/>
          </a:solidFill>
          <a:ln w="9525" algn="ctr">
            <a:solidFill>
              <a:schemeClr val="tx1"/>
            </a:solidFill>
          </a:ln>
        </p:spPr>
        <p:txBody>
          <a:bodyPr vert="horz" wrap="none" lIns="90488" tIns="46038" rIns="0" bIns="46038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fr-FR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10" name="Textplatzhalter 2">
            <a:extLst>
              <a:ext uri="{FF2B5EF4-FFF2-40B4-BE49-F238E27FC236}">
                <a16:creationId xmlns:a16="http://schemas.microsoft.com/office/drawing/2014/main" id="{83A1F760-0A78-41C6-B624-BE199BFA848F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5624513" y="2746375"/>
            <a:ext cx="1042988" cy="304800"/>
          </a:xfrm>
          <a:prstGeom prst="homePlate">
            <a:avLst>
              <a:gd name="adj" fmla="val 18229"/>
            </a:avLst>
          </a:prstGeom>
          <a:solidFill>
            <a:schemeClr val="hlink"/>
          </a:solidFill>
          <a:ln w="9525" algn="ctr">
            <a:solidFill>
              <a:schemeClr val="tx1"/>
            </a:solidFill>
          </a:ln>
        </p:spPr>
        <p:txBody>
          <a:bodyPr vert="horz" wrap="none" lIns="90488" tIns="46038" rIns="0" bIns="46038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fr-FR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97" name="Textplatzhalter 2">
            <a:extLst>
              <a:ext uri="{FF2B5EF4-FFF2-40B4-BE49-F238E27FC236}">
                <a16:creationId xmlns:a16="http://schemas.microsoft.com/office/drawing/2014/main" id="{071B8BE4-1C85-4DFC-AFDF-7EFDAEF71B4D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4973638" y="3760788"/>
            <a:ext cx="650875" cy="304800"/>
          </a:xfrm>
          <a:prstGeom prst="homePlate">
            <a:avLst>
              <a:gd name="adj" fmla="val 18229"/>
            </a:avLst>
          </a:prstGeom>
          <a:solidFill>
            <a:schemeClr val="hlink"/>
          </a:solidFill>
          <a:ln w="9525" algn="ctr">
            <a:solidFill>
              <a:schemeClr val="tx1"/>
            </a:solidFill>
          </a:ln>
        </p:spPr>
        <p:txBody>
          <a:bodyPr vert="horz" wrap="none" lIns="90488" tIns="46038" rIns="0" bIns="46038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fr-FR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11" name="Textplatzhalter 2">
            <a:extLst>
              <a:ext uri="{FF2B5EF4-FFF2-40B4-BE49-F238E27FC236}">
                <a16:creationId xmlns:a16="http://schemas.microsoft.com/office/drawing/2014/main" id="{E160A7B8-E1F0-4776-BEA2-24AB1B9635A8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5624512" y="4314825"/>
            <a:ext cx="1042988" cy="304800"/>
          </a:xfrm>
          <a:prstGeom prst="homePlate">
            <a:avLst>
              <a:gd name="adj" fmla="val 18229"/>
            </a:avLst>
          </a:prstGeom>
          <a:solidFill>
            <a:schemeClr val="hlink"/>
          </a:solidFill>
          <a:ln w="9525" algn="ctr">
            <a:solidFill>
              <a:schemeClr val="tx1"/>
            </a:solidFill>
          </a:ln>
        </p:spPr>
        <p:txBody>
          <a:bodyPr vert="horz" wrap="none" lIns="90488" tIns="46038" rIns="0" bIns="46038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fr-FR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08" name="Textplatzhalter 2">
            <a:extLst>
              <a:ext uri="{FF2B5EF4-FFF2-40B4-BE49-F238E27FC236}">
                <a16:creationId xmlns:a16="http://schemas.microsoft.com/office/drawing/2014/main" id="{525F32E6-37AD-44BB-A50E-C7276A8AF566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4930774" y="5756275"/>
            <a:ext cx="693738" cy="304800"/>
          </a:xfrm>
          <a:prstGeom prst="homePlate">
            <a:avLst>
              <a:gd name="adj" fmla="val 18229"/>
            </a:avLst>
          </a:prstGeom>
          <a:solidFill>
            <a:schemeClr val="hlink"/>
          </a:solidFill>
          <a:ln w="9525" algn="ctr">
            <a:solidFill>
              <a:schemeClr val="tx1"/>
            </a:solidFill>
          </a:ln>
        </p:spPr>
        <p:txBody>
          <a:bodyPr vert="horz" wrap="none" lIns="90488" tIns="46038" rIns="0" bIns="46038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fr-FR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46" name="Triangle isocèle 45">
            <a:extLst>
              <a:ext uri="{FF2B5EF4-FFF2-40B4-BE49-F238E27FC236}">
                <a16:creationId xmlns:a16="http://schemas.microsoft.com/office/drawing/2014/main" id="{9A29EB85-759B-4B6F-8280-7D8CBA30150E}"/>
              </a:ext>
            </a:extLst>
          </p:cNvPr>
          <p:cNvSpPr/>
          <p:nvPr>
            <p:custDataLst>
              <p:tags r:id="rId38"/>
            </p:custDataLst>
          </p:nvPr>
        </p:nvSpPr>
        <p:spPr bwMode="gray">
          <a:xfrm>
            <a:off x="5567363" y="6508750"/>
            <a:ext cx="114300" cy="114300"/>
          </a:xfrm>
          <a:prstGeom prst="triangle">
            <a:avLst/>
          </a:prstGeom>
          <a:solidFill>
            <a:schemeClr val="tx1"/>
          </a:solidFill>
          <a:ln w="9525" algn="ctr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 dirty="0" err="1">
              <a:solidFill>
                <a:schemeClr val="tx1"/>
              </a:solidFill>
            </a:endParaRPr>
          </a:p>
        </p:txBody>
      </p:sp>
      <p:sp>
        <p:nvSpPr>
          <p:cNvPr id="5" name="Triangle isocèle 4">
            <a:extLst>
              <a:ext uri="{FF2B5EF4-FFF2-40B4-BE49-F238E27FC236}">
                <a16:creationId xmlns:a16="http://schemas.microsoft.com/office/drawing/2014/main" id="{A27ADCD9-4B70-453E-B44A-F043CAA2120B}"/>
              </a:ext>
            </a:extLst>
          </p:cNvPr>
          <p:cNvSpPr/>
          <p:nvPr>
            <p:custDataLst>
              <p:tags r:id="rId39"/>
            </p:custDataLst>
          </p:nvPr>
        </p:nvSpPr>
        <p:spPr bwMode="gray">
          <a:xfrm>
            <a:off x="5872163" y="2841625"/>
            <a:ext cx="114300" cy="114300"/>
          </a:xfrm>
          <a:prstGeom prst="triangle">
            <a:avLst/>
          </a:prstGeom>
          <a:solidFill>
            <a:schemeClr val="tx1"/>
          </a:solidFill>
          <a:ln w="9525" algn="ctr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 dirty="0" err="1">
              <a:solidFill>
                <a:schemeClr val="tx1"/>
              </a:solidFill>
            </a:endParaRPr>
          </a:p>
        </p:txBody>
      </p:sp>
      <p:sp>
        <p:nvSpPr>
          <p:cNvPr id="105" name="Textplatzhalter 2">
            <a:extLst>
              <a:ext uri="{FF2B5EF4-FFF2-40B4-BE49-F238E27FC236}">
                <a16:creationId xmlns:a16="http://schemas.microsoft.com/office/drawing/2014/main" id="{2C8DB594-31E6-40B6-87F0-BC1081AB8B13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442913" y="2792413"/>
            <a:ext cx="30305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en-US" sz="1400" dirty="0"/>
              <a:t>Format des données des trames SPI </a:t>
            </a:r>
            <a:endParaRPr lang="fr-FR" sz="1400" dirty="0">
              <a:sym typeface="+mn-lt"/>
            </a:endParaRPr>
          </a:p>
        </p:txBody>
      </p:sp>
      <p:sp>
        <p:nvSpPr>
          <p:cNvPr id="106" name="Textplatzhalter 2">
            <a:extLst>
              <a:ext uri="{FF2B5EF4-FFF2-40B4-BE49-F238E27FC236}">
                <a16:creationId xmlns:a16="http://schemas.microsoft.com/office/drawing/2014/main" id="{11956BC1-4B49-413A-B3CD-7E78E14400DB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7216775" y="2792413"/>
            <a:ext cx="33607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en-US" sz="1400" dirty="0"/>
              <a:t>User guide du </a:t>
            </a:r>
            <a:r>
              <a:rPr lang="fr-FR" altLang="en-US" sz="1400" dirty="0" err="1"/>
              <a:t>protocol</a:t>
            </a:r>
            <a:r>
              <a:rPr lang="fr-FR" altLang="en-US" sz="1400" dirty="0"/>
              <a:t> (paramètres, etc.)</a:t>
            </a:r>
            <a:endParaRPr lang="fr-FR" sz="1400" dirty="0">
              <a:sym typeface="+mn-lt"/>
            </a:endParaRPr>
          </a:p>
        </p:txBody>
      </p:sp>
      <p:sp>
        <p:nvSpPr>
          <p:cNvPr id="75" name="Textplatzhalter 2">
            <a:extLst>
              <a:ext uri="{FF2B5EF4-FFF2-40B4-BE49-F238E27FC236}">
                <a16:creationId xmlns:a16="http://schemas.microsoft.com/office/drawing/2014/main" id="{0B0A38B2-896B-48E2-B337-32EF709A1B6D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7216774" y="1997075"/>
            <a:ext cx="42052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en-US" sz="1400" dirty="0">
                <a:sym typeface="+mn-lt"/>
              </a:rPr>
              <a:t>Présentation du </a:t>
            </a:r>
            <a:r>
              <a:rPr lang="fr-FR" altLang="en-US" sz="1400" dirty="0" err="1">
                <a:sym typeface="+mn-lt"/>
              </a:rPr>
              <a:t>protocol</a:t>
            </a:r>
            <a:r>
              <a:rPr lang="fr-FR" altLang="en-US" sz="1400" dirty="0">
                <a:sym typeface="+mn-lt"/>
              </a:rPr>
              <a:t> avec carte DE0 et STM32 </a:t>
            </a:r>
            <a:endParaRPr lang="fr-FR" sz="1400" dirty="0">
              <a:sym typeface="+mn-lt"/>
            </a:endParaRP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0B0A38B2-896B-48E2-B337-32EF709A1B6D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442912" y="3298825"/>
            <a:ext cx="19939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en-US" sz="1400" b="1" dirty="0">
                <a:sym typeface="+mn-lt"/>
              </a:rPr>
              <a:t>Bus de communication</a:t>
            </a:r>
            <a:endParaRPr lang="fr-FR" sz="1400" b="1" dirty="0">
              <a:sym typeface="+mn-lt"/>
            </a:endParaRPr>
          </a:p>
        </p:txBody>
      </p:sp>
      <p:sp>
        <p:nvSpPr>
          <p:cNvPr id="92" name="Textplatzhalter 2">
            <a:extLst>
              <a:ext uri="{FF2B5EF4-FFF2-40B4-BE49-F238E27FC236}">
                <a16:creationId xmlns:a16="http://schemas.microsoft.com/office/drawing/2014/main" id="{1A579DC9-D886-48F1-8841-714FD11CB9E5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442913" y="3806825"/>
            <a:ext cx="39004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en-US" sz="1400" dirty="0"/>
              <a:t>Mise en œuvre </a:t>
            </a:r>
            <a:r>
              <a:rPr lang="fr-FR" altLang="en-US" sz="1400" dirty="0" err="1"/>
              <a:t>protocol</a:t>
            </a:r>
            <a:r>
              <a:rPr lang="fr-FR" altLang="en-US" sz="1400" dirty="0"/>
              <a:t> au choix : I2C ou UART</a:t>
            </a:r>
            <a:endParaRPr lang="fr-FR" sz="1400" dirty="0">
              <a:sym typeface="+mn-lt"/>
            </a:endParaRPr>
          </a:p>
        </p:txBody>
      </p:sp>
      <p:sp>
        <p:nvSpPr>
          <p:cNvPr id="98" name="Textplatzhalter 2">
            <a:extLst>
              <a:ext uri="{FF2B5EF4-FFF2-40B4-BE49-F238E27FC236}">
                <a16:creationId xmlns:a16="http://schemas.microsoft.com/office/drawing/2014/main" id="{3CC52009-7AC4-4F0B-929F-8AE65BEA8C17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7216775" y="3806825"/>
            <a:ext cx="47085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en-US" sz="1400" dirty="0">
                <a:sym typeface="+mn-lt"/>
              </a:rPr>
              <a:t>Vidéo présentation du </a:t>
            </a:r>
            <a:r>
              <a:rPr lang="fr-FR" altLang="en-US" sz="1400" dirty="0" err="1">
                <a:sym typeface="+mn-lt"/>
              </a:rPr>
              <a:t>protocol</a:t>
            </a:r>
            <a:r>
              <a:rPr lang="fr-FR" altLang="en-US" sz="1400" dirty="0">
                <a:sym typeface="+mn-lt"/>
              </a:rPr>
              <a:t> avec carte DE0 et STM32 </a:t>
            </a:r>
            <a:endParaRPr lang="fr-FR" sz="1400" dirty="0">
              <a:sym typeface="+mn-lt"/>
            </a:endParaRPr>
          </a:p>
        </p:txBody>
      </p:sp>
      <p:sp>
        <p:nvSpPr>
          <p:cNvPr id="104" name="Textplatzhalter 2">
            <a:extLst>
              <a:ext uri="{FF2B5EF4-FFF2-40B4-BE49-F238E27FC236}">
                <a16:creationId xmlns:a16="http://schemas.microsoft.com/office/drawing/2014/main" id="{5381147E-4227-43CB-BA04-83B862BEF8E7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7216775" y="2284413"/>
            <a:ext cx="19129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en-US" sz="1400" dirty="0"/>
              <a:t>SPI 5 fils, interruption ?</a:t>
            </a:r>
            <a:endParaRPr lang="fr-FR" sz="1400" dirty="0">
              <a:sym typeface="+mn-lt"/>
            </a:endParaRPr>
          </a:p>
        </p:txBody>
      </p:sp>
      <p:sp>
        <p:nvSpPr>
          <p:cNvPr id="102" name="Textplatzhalter 2">
            <a:extLst>
              <a:ext uri="{FF2B5EF4-FFF2-40B4-BE49-F238E27FC236}">
                <a16:creationId xmlns:a16="http://schemas.microsoft.com/office/drawing/2014/main" id="{BEE55F72-E16D-401B-A738-AE2540CF6BE0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7216775" y="4314825"/>
            <a:ext cx="30829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en-US" sz="1400" dirty="0"/>
              <a:t>PPT sur l’idée et la solution 2-3 slides</a:t>
            </a:r>
            <a:endParaRPr lang="fr-FR" sz="1400" dirty="0">
              <a:sym typeface="+mn-lt"/>
            </a:endParaRPr>
          </a:p>
        </p:txBody>
      </p:sp>
      <p:sp>
        <p:nvSpPr>
          <p:cNvPr id="129" name="Textplatzhalter 2">
            <a:extLst>
              <a:ext uri="{FF2B5EF4-FFF2-40B4-BE49-F238E27FC236}">
                <a16:creationId xmlns:a16="http://schemas.microsoft.com/office/drawing/2014/main" id="{845A1E26-5A85-4D63-AAF1-1DF807808FC1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442913" y="5756275"/>
            <a:ext cx="30194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en-US" sz="1400" dirty="0"/>
              <a:t>Présentation </a:t>
            </a:r>
            <a:r>
              <a:rPr lang="fr-FR" altLang="en-US" sz="1400" dirty="0" err="1"/>
              <a:t>protocol</a:t>
            </a:r>
            <a:r>
              <a:rPr lang="fr-FR" altLang="en-US" sz="1400" dirty="0"/>
              <a:t> VGA, DVI, SDI</a:t>
            </a:r>
            <a:r>
              <a:rPr lang="fr-FR" altLang="en-US" sz="1400" b="1" dirty="0">
                <a:sym typeface="+mn-lt"/>
              </a:rPr>
              <a:t> </a:t>
            </a:r>
            <a:endParaRPr lang="fr-FR" sz="1400" dirty="0">
              <a:sym typeface="+mn-lt"/>
            </a:endParaRPr>
          </a:p>
        </p:txBody>
      </p:sp>
      <p:sp>
        <p:nvSpPr>
          <p:cNvPr id="133" name="Textplatzhalter 2">
            <a:extLst>
              <a:ext uri="{FF2B5EF4-FFF2-40B4-BE49-F238E27FC236}">
                <a16:creationId xmlns:a16="http://schemas.microsoft.com/office/drawing/2014/main" id="{642CDFD4-4323-4B30-91A9-F87A69B37BFA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7216775" y="5756275"/>
            <a:ext cx="4281488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400" dirty="0">
                <a:sym typeface="+mn-lt"/>
              </a:rPr>
              <a:t>Présenté un tuto émission et tuto réception qui sera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400" dirty="0">
                <a:sym typeface="+mn-lt"/>
              </a:rPr>
              <a:t>réalisé par la suite + présentation des </a:t>
            </a:r>
            <a:r>
              <a:rPr lang="fr-FR" sz="1400" dirty="0" err="1">
                <a:sym typeface="+mn-lt"/>
              </a:rPr>
              <a:t>protocol</a:t>
            </a:r>
            <a:r>
              <a:rPr lang="fr-FR" sz="1400" dirty="0">
                <a:sym typeface="+mn-lt"/>
              </a:rPr>
              <a:t>  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0B0A38B2-896B-48E2-B337-32EF709A1B6D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442913" y="1539875"/>
            <a:ext cx="24955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en-US" sz="1400" b="1" dirty="0">
                <a:sym typeface="+mn-lt"/>
              </a:rPr>
              <a:t>Communication </a:t>
            </a:r>
            <a:r>
              <a:rPr lang="fr-FR" altLang="en-US" sz="1400" b="1" dirty="0" err="1">
                <a:sym typeface="+mn-lt"/>
              </a:rPr>
              <a:t>fpga</a:t>
            </a:r>
            <a:r>
              <a:rPr lang="fr-FR" altLang="en-US" sz="1400" b="1" dirty="0">
                <a:sym typeface="+mn-lt"/>
              </a:rPr>
              <a:t> </a:t>
            </a:r>
            <a:r>
              <a:rPr lang="fr-FR" altLang="en-US" sz="1400" b="1" dirty="0" err="1">
                <a:sym typeface="+mn-lt"/>
              </a:rPr>
              <a:t>microC</a:t>
            </a:r>
            <a:endParaRPr lang="fr-FR" sz="1400" b="1" dirty="0">
              <a:sym typeface="+mn-lt"/>
            </a:endParaRPr>
          </a:p>
        </p:txBody>
      </p:sp>
      <p:sp useBgFill="1">
        <p:nvSpPr>
          <p:cNvPr id="45" name="Textplatzhalter 2">
            <a:extLst>
              <a:ext uri="{FF2B5EF4-FFF2-40B4-BE49-F238E27FC236}">
                <a16:creationId xmlns:a16="http://schemas.microsoft.com/office/drawing/2014/main" id="{0B0A38B2-896B-48E2-B337-32EF709A1B6D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5172075" y="6645275"/>
            <a:ext cx="904875" cy="21272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AA606E7-1544-45C3-B055-059B911C518D}" type="datetime'''2''7''''/''''''1''''''''''''1''''''''/''''''''''2020'''">
              <a:rPr lang="fr-FR" altLang="en-US" sz="1400" smtClean="0"/>
              <a:pPr/>
              <a:t>27/11/2020</a:t>
            </a:fld>
            <a:endParaRPr lang="fr-FR" sz="1400" dirty="0">
              <a:sym typeface="+mn-lt"/>
            </a:endParaRPr>
          </a:p>
        </p:txBody>
      </p:sp>
      <p:sp>
        <p:nvSpPr>
          <p:cNvPr id="103" name="Textplatzhalter 2">
            <a:extLst>
              <a:ext uri="{FF2B5EF4-FFF2-40B4-BE49-F238E27FC236}">
                <a16:creationId xmlns:a16="http://schemas.microsoft.com/office/drawing/2014/main" id="{67678C46-856D-4722-B095-3361AE771E2C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442912" y="2284413"/>
            <a:ext cx="39814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3400" lvl="3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400" dirty="0">
                <a:sym typeface="+mn-lt"/>
              </a:rPr>
              <a:t>Présentation méthode communication SPI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0B0A38B2-896B-48E2-B337-32EF709A1B6D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442913" y="4314825"/>
            <a:ext cx="3835400" cy="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en-US" sz="1400" dirty="0">
                <a:sym typeface="+mn-lt"/>
              </a:rPr>
              <a:t>Étude de la méthode de détection du type des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en-US" sz="1400" dirty="0">
                <a:sym typeface="+mn-lt"/>
              </a:rPr>
              <a:t>Protocol e</a:t>
            </a:r>
            <a:r>
              <a:rPr lang="fr-FR" sz="1400" dirty="0">
                <a:sym typeface="+mn-lt"/>
              </a:rPr>
              <a:t>t des paramètres de communication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400" dirty="0">
                <a:sym typeface="+mn-lt"/>
              </a:rPr>
              <a:t>(ex: détection </a:t>
            </a:r>
            <a:r>
              <a:rPr lang="fr-FR" sz="1400" dirty="0" err="1">
                <a:sym typeface="+mn-lt"/>
              </a:rPr>
              <a:t>baudrate</a:t>
            </a:r>
            <a:r>
              <a:rPr lang="fr-FR" sz="1400" dirty="0">
                <a:sym typeface="+mn-lt"/>
              </a:rPr>
              <a:t> UART)</a:t>
            </a:r>
          </a:p>
        </p:txBody>
      </p:sp>
      <p:sp>
        <p:nvSpPr>
          <p:cNvPr id="94" name="Textplatzhalter 2">
            <a:extLst>
              <a:ext uri="{FF2B5EF4-FFF2-40B4-BE49-F238E27FC236}">
                <a16:creationId xmlns:a16="http://schemas.microsoft.com/office/drawing/2014/main" id="{2C274A41-1CE8-424D-9D29-AD952B2B59D1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442912" y="5248275"/>
            <a:ext cx="13779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en-US" sz="1400" b="1" dirty="0"/>
              <a:t>FPGA flux vidéo</a:t>
            </a:r>
            <a:endParaRPr lang="fr-FR" sz="1400" b="1" dirty="0">
              <a:sym typeface="+mn-lt"/>
            </a:endParaRP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0B0A38B2-896B-48E2-B337-32EF709A1B6D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442913" y="1997075"/>
            <a:ext cx="24590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F0572E6-EEF3-4E45-8677-50DA636B1610}" type="datetime'''Mi''se ''''e''''n'' œuvre du p''ro''t''o''c''ol SPI'''''''''">
              <a:rPr lang="fr-FR" altLang="en-US" sz="1400" smtClean="0"/>
              <a:pPr/>
              <a:t>Mise en œuvre du protocol SPI</a:t>
            </a:fld>
            <a:endParaRPr lang="fr-FR" sz="1400" dirty="0">
              <a:sym typeface="+mn-lt"/>
            </a:endParaRPr>
          </a:p>
        </p:txBody>
      </p:sp>
      <p:sp>
        <p:nvSpPr>
          <p:cNvPr id="72" name="Textplatzhalter 2">
            <a:extLst>
              <a:ext uri="{FF2B5EF4-FFF2-40B4-BE49-F238E27FC236}">
                <a16:creationId xmlns:a16="http://schemas.microsoft.com/office/drawing/2014/main" id="{0B0A38B2-896B-48E2-B337-32EF709A1B6D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7216775" y="1539875"/>
            <a:ext cx="12731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en-US" sz="1400" b="1" dirty="0">
                <a:sym typeface="+mn-lt"/>
              </a:rPr>
              <a:t>Commentaires</a:t>
            </a:r>
            <a:endParaRPr lang="fr-FR" sz="1400" b="1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116014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436D213D-38A2-40C8-B5A0-D7E31646943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4724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Diapositive think-cell" r:id="rId5" imgW="360" imgH="360" progId="TCLayout.ActiveDocument.1">
                  <p:embed/>
                </p:oleObj>
              </mc:Choice>
              <mc:Fallback>
                <p:oleObj name="Diapositive think-cell" r:id="rId5" imgW="360" imgH="360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436D213D-38A2-40C8-B5A0-D7E3164694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8A553DB0-97AC-47A6-AB93-D7049E3E12A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800" b="1" dirty="0" err="1">
              <a:solidFill>
                <a:schemeClr val="tx1"/>
              </a:solidFill>
              <a:latin typeface="Vitesco" panose="020B0504020202020204" pitchFamily="34" charset="0"/>
              <a:ea typeface="+mj-ea"/>
              <a:cs typeface="+mj-cs"/>
              <a:sym typeface="Vitesco" panose="020B0504020202020204" pitchFamily="34" charset="0"/>
            </a:endParaRP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A121B6E3-A9C9-47F3-A335-54CE9326D8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250000"/>
              </a:lnSpc>
            </a:pPr>
            <a:r>
              <a:rPr lang="fr-FR" dirty="0"/>
              <a:t>15h40 – 15h50 : Cyprien: présentation </a:t>
            </a:r>
            <a:r>
              <a:rPr lang="fr-FR" dirty="0" err="1"/>
              <a:t>Tachyssema</a:t>
            </a:r>
            <a:endParaRPr lang="fr-FR" dirty="0"/>
          </a:p>
          <a:p>
            <a:pPr>
              <a:lnSpc>
                <a:spcPct val="250000"/>
              </a:lnSpc>
            </a:pPr>
            <a:r>
              <a:rPr lang="fr-FR" dirty="0"/>
              <a:t>15h50-16h10 : Communication </a:t>
            </a:r>
            <a:r>
              <a:rPr lang="fr-FR" dirty="0" err="1"/>
              <a:t>fpga</a:t>
            </a:r>
            <a:r>
              <a:rPr lang="fr-FR" dirty="0"/>
              <a:t> </a:t>
            </a:r>
            <a:r>
              <a:rPr lang="fr-FR" dirty="0" err="1"/>
              <a:t>microC</a:t>
            </a:r>
            <a:endParaRPr lang="fr-FR" dirty="0"/>
          </a:p>
          <a:p>
            <a:pPr>
              <a:lnSpc>
                <a:spcPct val="250000"/>
              </a:lnSpc>
            </a:pPr>
            <a:r>
              <a:rPr lang="fr-FR" dirty="0"/>
              <a:t>16h10-16h30: </a:t>
            </a:r>
            <a:r>
              <a:rPr lang="fr-FR" altLang="en-US" dirty="0">
                <a:sym typeface="+mn-lt"/>
              </a:rPr>
              <a:t>Bus de communication</a:t>
            </a:r>
          </a:p>
          <a:p>
            <a:pPr>
              <a:lnSpc>
                <a:spcPct val="250000"/>
              </a:lnSpc>
            </a:pPr>
            <a:r>
              <a:rPr lang="fr-FR" dirty="0">
                <a:sym typeface="+mn-lt"/>
              </a:rPr>
              <a:t>16h30-16h50 : FPGA flux vidéo</a:t>
            </a:r>
          </a:p>
          <a:p>
            <a:pPr>
              <a:lnSpc>
                <a:spcPct val="250000"/>
              </a:lnSpc>
            </a:pPr>
            <a:r>
              <a:rPr lang="fr-FR" dirty="0">
                <a:sym typeface="+mn-lt"/>
              </a:rPr>
              <a:t>16h50-17h10: Débriefing 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8C6D1A20-0414-4BE7-AD9D-91862F3D0A0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Vendredi 27 novembre 2020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DE39B1C4-D8E3-4CC6-9BA7-3561CFF4F9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GENDA Réunion</a:t>
            </a:r>
          </a:p>
        </p:txBody>
      </p:sp>
      <p:sp>
        <p:nvSpPr>
          <p:cNvPr id="7" name="Espace réservé du contenu 6">
            <a:extLst>
              <a:ext uri="{FF2B5EF4-FFF2-40B4-BE49-F238E27FC236}">
                <a16:creationId xmlns:a16="http://schemas.microsoft.com/office/drawing/2014/main" id="{41C72D94-6571-4C99-8E2B-F5F124A9E110}"/>
              </a:ext>
            </a:extLst>
          </p:cNvPr>
          <p:cNvSpPr>
            <a:spLocks noGrp="1"/>
          </p:cNvSpPr>
          <p:nvPr>
            <p:ph idx="16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727470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8AEF2050-ECCA-44CA-8617-5187E61CB8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756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Diapositive think-cell" r:id="rId5" imgW="360" imgH="360" progId="TCLayout.ActiveDocument.1">
                  <p:embed/>
                </p:oleObj>
              </mc:Choice>
              <mc:Fallback>
                <p:oleObj name="Diapositive think-cell" r:id="rId5" imgW="360" imgH="360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8AEF2050-ECCA-44CA-8617-5187E61CB8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CB87AD2-7AA8-43BB-AC28-05568693AB8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800" b="1" dirty="0" err="1">
              <a:solidFill>
                <a:schemeClr val="tx1"/>
              </a:solidFill>
              <a:latin typeface="Vitesco" panose="020B0504020202020204" pitchFamily="34" charset="0"/>
              <a:ea typeface="+mj-ea"/>
              <a:cs typeface="+mj-cs"/>
              <a:sym typeface="Vitesco" panose="020B0504020202020204" pitchFamily="34" charset="0"/>
            </a:endParaRPr>
          </a:p>
        </p:txBody>
      </p:sp>
      <p:sp>
        <p:nvSpPr>
          <p:cNvPr id="2" name="Espace réservé du contenu 1">
            <a:extLst>
              <a:ext uri="{FF2B5EF4-FFF2-40B4-BE49-F238E27FC236}">
                <a16:creationId xmlns:a16="http://schemas.microsoft.com/office/drawing/2014/main" id="{1FA8211C-EB5E-4B66-BBE0-2C78E2477DB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lnSpc>
                <a:spcPct val="200000"/>
              </a:lnSpc>
            </a:pPr>
            <a:r>
              <a:rPr lang="fr-FR" dirty="0"/>
              <a:t>20 min pour chaque groupe (Communication </a:t>
            </a:r>
            <a:r>
              <a:rPr lang="fr-FR" dirty="0" err="1"/>
              <a:t>fpga</a:t>
            </a:r>
            <a:r>
              <a:rPr lang="fr-FR" dirty="0"/>
              <a:t> </a:t>
            </a:r>
            <a:r>
              <a:rPr lang="fr-FR" dirty="0" err="1"/>
              <a:t>microC</a:t>
            </a:r>
            <a:r>
              <a:rPr lang="fr-FR" dirty="0"/>
              <a:t>, bus de com, flux </a:t>
            </a:r>
            <a:r>
              <a:rPr lang="fr-FR" dirty="0" err="1"/>
              <a:t>video</a:t>
            </a:r>
            <a:r>
              <a:rPr lang="fr-FR" dirty="0"/>
              <a:t>)</a:t>
            </a:r>
          </a:p>
          <a:p>
            <a:pPr lvl="1">
              <a:lnSpc>
                <a:spcPct val="200000"/>
              </a:lnSpc>
            </a:pPr>
            <a:r>
              <a:rPr lang="fr-FR" dirty="0"/>
              <a:t>2 personnes minimum à l’oral</a:t>
            </a:r>
          </a:p>
          <a:p>
            <a:pPr lvl="1">
              <a:lnSpc>
                <a:spcPct val="200000"/>
              </a:lnSpc>
            </a:pPr>
            <a:r>
              <a:rPr lang="fr-FR" dirty="0"/>
              <a:t>Les présentations devront inclure les « </a:t>
            </a:r>
            <a:r>
              <a:rPr lang="fr-FR" dirty="0" err="1"/>
              <a:t>next</a:t>
            </a:r>
            <a:r>
              <a:rPr lang="fr-FR" dirty="0"/>
              <a:t> </a:t>
            </a:r>
            <a:r>
              <a:rPr lang="fr-FR" dirty="0" err="1"/>
              <a:t>steps</a:t>
            </a:r>
            <a:r>
              <a:rPr lang="fr-FR" dirty="0"/>
              <a:t> »</a:t>
            </a:r>
          </a:p>
          <a:p>
            <a:pPr lvl="1"/>
            <a:endParaRPr lang="fr-FR" dirty="0"/>
          </a:p>
          <a:p>
            <a:pPr lvl="1"/>
            <a:endParaRPr lang="fr-FR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CCE8099-ADFD-4854-BC59-24CF196A1FB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ADDCBE7-D0BD-4CB7-B2AD-FA4CEB35B0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alités présentations</a:t>
            </a:r>
          </a:p>
        </p:txBody>
      </p:sp>
    </p:spTree>
    <p:extLst>
      <p:ext uri="{BB962C8B-B14F-4D97-AF65-F5344CB8AC3E}">
        <p14:creationId xmlns:p14="http://schemas.microsoft.com/office/powerpoint/2010/main" val="12067076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5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.oVLJLBxChOMa8IdCg.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4opWH_6tE5cKBmyFaKy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90NDPWBhuNG.AG7JNG6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qbX70liHwx9cQi2cdxR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I.2F84KBt3oH4jwVeKv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vhwzISGJriswgQEE6B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odTvWSu8.7cEC75kaf2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osxvkvvS8jRE2lCve.7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Aw8y_VS3pQ07t0H42fJ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0QuD7D7V8FYS57LQK94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QB6hWFe0IH4PtKEwxem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EaAP6O1tgGiEdzZrbAF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r2b08NWnN_FyvyV.PLu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1QU4oocukVWOLwfdmehc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1clkPKtv_UNMNUkO..J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eeY3mRW5ZoL0T1TTcJx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b5n1aimNgf3BWD21BKu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AfsSY5yxgE8pWaG651f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jtyFcW5MF_0LXit1jzr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5SowJwtCiFuypAm_Jqa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KBQMkmHCoVXFmI_MWhj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VnJpV8rmJAUZ3ArGau6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Dt8047hwtHwj_XT5ATS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Y5BgndbhxfhjsdQ8WmO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eh2HbYWHdiM5VLaLmXj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MHbBxJLop6y9pr5anvM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7XjLFcUTOnbbCjw9C7M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kTkd.ond7LzJhC1Q11e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G5VQtNxBsWi1DlaIBFb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vjOMJ5nucwZkxUJhHcD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O8MvpFbXHqLrCdW5UbY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JxjAd_SdnCkx0ZnlnDy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HqF.vakClfL9SD.dIN9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A6.HB31UpHlREFEDR27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I1xlYA7Gq8wwH6PFTt2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fcgYD1vBqbZmyWfLRIi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EghQdiesRof5ohOQom5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NYAl6OB5DVYzt_uPJIn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oBo_dCmRWdD5g9hvy6o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d8wRVknBcgspV2fM.2o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RB1Hq2LN_oxzq1_4Cy4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4WIHquUFBcMKWhAz2M4G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8H4q58IzCISCixZUokc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ifKkaWXqZ.RbFwY4wFc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1G8MaEN7KpcMKQrGWVr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vd7KDw.exispuZxNMcr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MOwhxxL5q4WIJeVO9Y0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dKUJ.TSmZ5IzUbSGIJD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KXewPogDRLhVssI2wZK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76VTg.mWyLnZT89n3kzH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VkDUpFufXaDvf2bnC3U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3vf5k9BwqJW8peiqheu8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Sx7jrKWnEHe.mxRzm6l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QwXID6excj1KDSvvrG8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wPArxsoBZ47PzJASsMK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g29dDRq7CsatrhzTqBN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yZMfgNyW0Q9GLiCl92h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kAXc0W0VquklLROzg8Wg"/>
</p:tagLst>
</file>

<file path=ppt/theme/theme1.xml><?xml version="1.0" encoding="utf-8"?>
<a:theme xmlns:a="http://schemas.openxmlformats.org/drawingml/2006/main" name="Vitesco">
  <a:themeElements>
    <a:clrScheme name="_Vitesco neu">
      <a:dk1>
        <a:srgbClr val="4A4944"/>
      </a:dk1>
      <a:lt1>
        <a:sysClr val="window" lastClr="FFFFFF"/>
      </a:lt1>
      <a:dk2>
        <a:srgbClr val="4A4944"/>
      </a:dk2>
      <a:lt2>
        <a:srgbClr val="F2E500"/>
      </a:lt2>
      <a:accent1>
        <a:srgbClr val="D4004A"/>
      </a:accent1>
      <a:accent2>
        <a:srgbClr val="B4C832"/>
      </a:accent2>
      <a:accent3>
        <a:srgbClr val="64AF5A"/>
      </a:accent3>
      <a:accent4>
        <a:srgbClr val="3CB4A5"/>
      </a:accent4>
      <a:accent5>
        <a:srgbClr val="008269"/>
      </a:accent5>
      <a:accent6>
        <a:srgbClr val="005546"/>
      </a:accent6>
      <a:hlink>
        <a:srgbClr val="4A4944"/>
      </a:hlink>
      <a:folHlink>
        <a:srgbClr val="4A4944"/>
      </a:folHlink>
    </a:clrScheme>
    <a:fontScheme name="Benutzerdefiniert 153">
      <a:majorFont>
        <a:latin typeface="Vitesco"/>
        <a:ea typeface=""/>
        <a:cs typeface=""/>
      </a:majorFont>
      <a:minorFont>
        <a:latin typeface="Vitesc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sz="1400" dirty="0" err="1" smtClean="0"/>
        </a:defPPr>
      </a:lstStyle>
    </a:txDef>
  </a:objectDefaults>
  <a:extraClrSchemeLst/>
  <a:custClrLst>
    <a:custClr name="Tertiär1">
      <a:srgbClr val="00A5E6"/>
    </a:custClr>
    <a:custClr name="Tertiär2">
      <a:srgbClr val="006EAA"/>
    </a:custClr>
    <a:custClr name="Tertiär3">
      <a:srgbClr val="005082"/>
    </a:custClr>
    <a:custClr name="Tertiär4">
      <a:srgbClr val="DC5F96"/>
    </a:custClr>
    <a:custClr name="Tertiär5">
      <a:srgbClr val="7D0F5F"/>
    </a:custClr>
    <a:custClr name="Brand Grey 100%">
      <a:srgbClr val="4A4944"/>
    </a:custClr>
    <a:custClr name="Brand Grey 70%">
      <a:srgbClr val="807F7C"/>
    </a:custClr>
    <a:custClr name="Brand Grey 50%">
      <a:srgbClr val="A4A4A1"/>
    </a:custClr>
    <a:custClr name="Brand Grey 30%">
      <a:srgbClr val="C8C8C6"/>
    </a:custClr>
    <a:custClr name="Brand Grey 15%">
      <a:srgbClr val="E4E4E3"/>
    </a:custClr>
    <a:custClr name="Ampelfarbe1">
      <a:srgbClr val="DC230F"/>
    </a:custClr>
    <a:custClr name="Ampelfarbe2">
      <a:srgbClr val="FFC300"/>
    </a:custClr>
    <a:custClr name="Ampelfarbe3">
      <a:srgbClr val="64AF59"/>
    </a:custClr>
  </a:custClrLst>
  <a:extLst>
    <a:ext uri="{05A4C25C-085E-4340-85A3-A5531E510DB2}">
      <thm15:themeFamily xmlns:thm15="http://schemas.microsoft.com/office/thememl/2012/main" name="Vitesco" id="{8CFDD018-1F62-45B6-9047-F61AA96CE09E}" vid="{CCAAE21C-71A6-42EA-8C4A-0FB1DB4EEB3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2BE18627A709541810338E01DF18ED8" ma:contentTypeVersion="13" ma:contentTypeDescription="Create a new document." ma:contentTypeScope="" ma:versionID="6f87765f028ae768125b6a93918cda0e">
  <xsd:schema xmlns:xsd="http://www.w3.org/2001/XMLSchema" xmlns:xs="http://www.w3.org/2001/XMLSchema" xmlns:p="http://schemas.microsoft.com/office/2006/metadata/properties" xmlns:ns3="30990c54-d953-498a-88eb-47508cbabf51" xmlns:ns4="5459c1e5-ea4c-4ff0-83ae-5b1438974e3b" targetNamespace="http://schemas.microsoft.com/office/2006/metadata/properties" ma:root="true" ma:fieldsID="315afa8a6763a42aaca31b82e431c531" ns3:_="" ns4:_="">
    <xsd:import namespace="30990c54-d953-498a-88eb-47508cbabf51"/>
    <xsd:import namespace="5459c1e5-ea4c-4ff0-83ae-5b1438974e3b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GenerationTime" minOccurs="0"/>
                <xsd:element ref="ns4:MediaServiceEventHashCode" minOccurs="0"/>
                <xsd:element ref="ns4:MediaServiceOCR" minOccurs="0"/>
                <xsd:element ref="ns4:MediaServiceDateTaken" minOccurs="0"/>
                <xsd:element ref="ns4:MediaServiceLocation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0990c54-d953-498a-88eb-47508cbabf5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459c1e5-ea4c-4ff0-83ae-5b1438974e3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4155F9E-2EAD-42F2-806B-E21BC22B8E4E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2D2CCB94-1F41-44EE-A1EE-5CC299F1107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0AD13F6-16F7-495A-82CC-B619EF35686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0990c54-d953-498a-88eb-47508cbabf51"/>
    <ds:schemaRef ds:uri="5459c1e5-ea4c-4ff0-83ae-5b1438974e3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198</Words>
  <Application>Microsoft Office PowerPoint</Application>
  <PresentationFormat>Grand écran</PresentationFormat>
  <Paragraphs>43</Paragraphs>
  <Slides>4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2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4</vt:i4>
      </vt:variant>
    </vt:vector>
  </HeadingPairs>
  <TitlesOfParts>
    <vt:vector size="8" baseType="lpstr">
      <vt:lpstr>Arial</vt:lpstr>
      <vt:lpstr>Vitesco</vt:lpstr>
      <vt:lpstr>Vitesco</vt:lpstr>
      <vt:lpstr>Diapositive think-cell</vt:lpstr>
      <vt:lpstr>PGE planning Q4</vt:lpstr>
      <vt:lpstr>Planning PGE</vt:lpstr>
      <vt:lpstr>AGENDA Réunion</vt:lpstr>
      <vt:lpstr>Modalités présentat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Messaoudi, Damien (uid34375)</dc:creator>
  <cp:lastModifiedBy>Messaoudi, Damien (uid34375)</cp:lastModifiedBy>
  <cp:revision>8</cp:revision>
  <dcterms:created xsi:type="dcterms:W3CDTF">2020-11-11T17:31:28Z</dcterms:created>
  <dcterms:modified xsi:type="dcterms:W3CDTF">2020-11-13T18:12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2BE18627A709541810338E01DF18ED8</vt:lpwstr>
  </property>
</Properties>
</file>